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3095625" cy="1008063"/>
  <p:notesSz cx="7102475" cy="10233025"/>
  <p:custDataLst>
    <p:tags r:id="rId3"/>
  </p:custDataLst>
  <p:defaultTextStyle>
    <a:defPPr>
      <a:defRPr lang="de-DE"/>
    </a:defPPr>
    <a:lvl1pPr marL="0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1pPr>
    <a:lvl2pPr marL="129395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2pPr>
    <a:lvl3pPr marL="258788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3pPr>
    <a:lvl4pPr marL="388183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4pPr>
    <a:lvl5pPr marL="517578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5pPr>
    <a:lvl6pPr marL="646972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6pPr>
    <a:lvl7pPr marL="776367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7pPr>
    <a:lvl8pPr marL="905760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8pPr>
    <a:lvl9pPr marL="1035155" algn="l" defTabSz="258788" rtl="0" eaLnBrk="1" latinLnBrk="0" hangingPunct="1">
      <a:defRPr sz="50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8" userDrawn="1">
          <p15:clr>
            <a:srgbClr val="A4A3A4"/>
          </p15:clr>
        </p15:guide>
        <p15:guide id="2" pos="97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38" autoAdjust="0"/>
    <p:restoredTop sz="94660"/>
  </p:normalViewPr>
  <p:slideViewPr>
    <p:cSldViewPr>
      <p:cViewPr varScale="1">
        <p:scale>
          <a:sx n="290" d="100"/>
          <a:sy n="290" d="100"/>
        </p:scale>
        <p:origin x="202" y="907"/>
      </p:cViewPr>
      <p:guideLst>
        <p:guide orient="horz" pos="318"/>
        <p:guide pos="976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918998007500915E-2"/>
          <c:y val="7.7519379844961257E-3"/>
          <c:w val="0.98608100199249904"/>
          <c:h val="0.99224806201550386"/>
        </c:manualLayout>
      </c:layout>
      <c:scatterChart>
        <c:scatterStyle val="smoothMarker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L1</c:v>
                </c:pt>
              </c:strCache>
            </c:strRef>
          </c:tx>
          <c:spPr>
            <a:ln w="12700" cap="flat">
              <a:solidFill>
                <a:schemeClr val="tx1"/>
              </a:solidFill>
              <a:prstDash val="sysDot"/>
              <a:round/>
            </a:ln>
            <a:effectLst/>
          </c:spPr>
          <c:marker>
            <c:symbol val="none"/>
          </c:marker>
          <c:xVal>
            <c:numRef>
              <c:f>Tabelle1!$A$2:$A$653</c:f>
              <c:numCache>
                <c:formatCode>0.00</c:formatCode>
                <c:ptCount val="652"/>
                <c:pt idx="0">
                  <c:v>14.088320528055201</c:v>
                </c:pt>
                <c:pt idx="1">
                  <c:v>22.4944337521938</c:v>
                </c:pt>
                <c:pt idx="2">
                  <c:v>30.899314407998101</c:v>
                </c:pt>
                <c:pt idx="3">
                  <c:v>39.305427632136698</c:v>
                </c:pt>
                <c:pt idx="4">
                  <c:v>47.703880411844203</c:v>
                </c:pt>
                <c:pt idx="5">
                  <c:v>56.116421512079697</c:v>
                </c:pt>
                <c:pt idx="6">
                  <c:v>64.514874291787095</c:v>
                </c:pt>
                <c:pt idx="7">
                  <c:v>72.920987515925702</c:v>
                </c:pt>
                <c:pt idx="8">
                  <c:v>81.325868171729994</c:v>
                </c:pt>
                <c:pt idx="9">
                  <c:v>89.731981395868601</c:v>
                </c:pt>
                <c:pt idx="10">
                  <c:v>98.130434175576099</c:v>
                </c:pt>
                <c:pt idx="11">
                  <c:v>106.542975275812</c:v>
                </c:pt>
                <c:pt idx="12">
                  <c:v>114.941428055519</c:v>
                </c:pt>
                <c:pt idx="13">
                  <c:v>123.347541279658</c:v>
                </c:pt>
                <c:pt idx="14">
                  <c:v>131.752421935462</c:v>
                </c:pt>
                <c:pt idx="15">
                  <c:v>140.158535159601</c:v>
                </c:pt>
                <c:pt idx="16">
                  <c:v>140.158535159601</c:v>
                </c:pt>
                <c:pt idx="17">
                  <c:v>148.55698793930799</c:v>
                </c:pt>
                <c:pt idx="18">
                  <c:v>156.97076160787799</c:v>
                </c:pt>
                <c:pt idx="19">
                  <c:v>165.38453527644799</c:v>
                </c:pt>
                <c:pt idx="20">
                  <c:v>173.80720195778301</c:v>
                </c:pt>
                <c:pt idx="21">
                  <c:v>182.25284997241201</c:v>
                </c:pt>
                <c:pt idx="22">
                  <c:v>190.70096312370899</c:v>
                </c:pt>
                <c:pt idx="23">
                  <c:v>199.187378497163</c:v>
                </c:pt>
                <c:pt idx="24">
                  <c:v>207.68391945171601</c:v>
                </c:pt>
                <c:pt idx="25">
                  <c:v>216.20590687623201</c:v>
                </c:pt>
                <c:pt idx="26">
                  <c:v>224.75976864680601</c:v>
                </c:pt>
                <c:pt idx="27">
                  <c:v>233.34796990010901</c:v>
                </c:pt>
                <c:pt idx="28">
                  <c:v>241.96804549947001</c:v>
                </c:pt>
                <c:pt idx="29">
                  <c:v>250.623693149894</c:v>
                </c:pt>
                <c:pt idx="30">
                  <c:v>259.32776860357302</c:v>
                </c:pt>
                <c:pt idx="31">
                  <c:v>268.06618353997999</c:v>
                </c:pt>
                <c:pt idx="32">
                  <c:v>276.861919292408</c:v>
                </c:pt>
                <c:pt idx="33">
                  <c:v>285.68679921980203</c:v>
                </c:pt>
                <c:pt idx="34">
                  <c:v>294.57666040764798</c:v>
                </c:pt>
                <c:pt idx="35">
                  <c:v>303.50332621489002</c:v>
                </c:pt>
                <c:pt idx="36">
                  <c:v>312.49620585091998</c:v>
                </c:pt>
                <c:pt idx="37">
                  <c:v>321.53478311911101</c:v>
                </c:pt>
                <c:pt idx="38">
                  <c:v>330.63314633999198</c:v>
                </c:pt>
                <c:pt idx="39">
                  <c:v>339.79252808189699</c:v>
                </c:pt>
                <c:pt idx="40">
                  <c:v>348.998840024299</c:v>
                </c:pt>
                <c:pt idx="41">
                  <c:v>358.26617048772403</c:v>
                </c:pt>
                <c:pt idx="42">
                  <c:v>367.596984608843</c:v>
                </c:pt>
                <c:pt idx="43">
                  <c:v>376.975961498792</c:v>
                </c:pt>
                <c:pt idx="44">
                  <c:v>386.41199417033801</c:v>
                </c:pt>
                <c:pt idx="45">
                  <c:v>395.91151049957602</c:v>
                </c:pt>
                <c:pt idx="46">
                  <c:v>405.46165473431398</c:v>
                </c:pt>
                <c:pt idx="47">
                  <c:v>415.06365944288501</c:v>
                </c:pt>
                <c:pt idx="48">
                  <c:v>424.72395250138601</c:v>
                </c:pt>
                <c:pt idx="49">
                  <c:v>434.42967815762398</c:v>
                </c:pt>
                <c:pt idx="50">
                  <c:v>444.18206897993298</c:v>
                </c:pt>
                <c:pt idx="51">
                  <c:v>453.98755284441</c:v>
                </c:pt>
                <c:pt idx="52">
                  <c:v>463.82561355442903</c:v>
                </c:pt>
                <c:pt idx="53">
                  <c:v>473.70514412275799</c:v>
                </c:pt>
                <c:pt idx="54">
                  <c:v>483.61848410496299</c:v>
                </c:pt>
                <c:pt idx="55">
                  <c:v>493.55277774885201</c:v>
                </c:pt>
                <c:pt idx="56">
                  <c:v>503.52211337495299</c:v>
                </c:pt>
                <c:pt idx="57">
                  <c:v>503.52211337495299</c:v>
                </c:pt>
                <c:pt idx="58">
                  <c:v>513.50597478663997</c:v>
                </c:pt>
                <c:pt idx="59">
                  <c:v>523.49793410781695</c:v>
                </c:pt>
                <c:pt idx="60">
                  <c:v>533.49033089405202</c:v>
                </c:pt>
                <c:pt idx="61">
                  <c:v>543.48959302144306</c:v>
                </c:pt>
                <c:pt idx="62">
                  <c:v>553.48286473779604</c:v>
                </c:pt>
                <c:pt idx="63">
                  <c:v>563.46371816701401</c:v>
                </c:pt>
                <c:pt idx="64">
                  <c:v>573.42202772799601</c:v>
                </c:pt>
                <c:pt idx="65">
                  <c:v>583.36025855741298</c:v>
                </c:pt>
                <c:pt idx="66">
                  <c:v>593.25666189030301</c:v>
                </c:pt>
                <c:pt idx="67">
                  <c:v>603.12409347886205</c:v>
                </c:pt>
                <c:pt idx="68">
                  <c:v>612.94326969479903</c:v>
                </c:pt>
                <c:pt idx="69">
                  <c:v>622.71172540144403</c:v>
                </c:pt>
                <c:pt idx="70">
                  <c:v>632.42426529103602</c:v>
                </c:pt>
                <c:pt idx="71">
                  <c:v>642.07199635080804</c:v>
                </c:pt>
                <c:pt idx="72">
                  <c:v>651.65615114909599</c:v>
                </c:pt>
                <c:pt idx="73">
                  <c:v>661.16906924146804</c:v>
                </c:pt>
                <c:pt idx="74">
                  <c:v>670.59542973906105</c:v>
                </c:pt>
                <c:pt idx="75">
                  <c:v>679.93646521021105</c:v>
                </c:pt>
                <c:pt idx="76">
                  <c:v>689.19094308658202</c:v>
                </c:pt>
                <c:pt idx="77">
                  <c:v>698.338347171549</c:v>
                </c:pt>
                <c:pt idx="78">
                  <c:v>707.38510534120996</c:v>
                </c:pt>
                <c:pt idx="79">
                  <c:v>716.32998502723103</c:v>
                </c:pt>
                <c:pt idx="80">
                  <c:v>725.14604215688905</c:v>
                </c:pt>
                <c:pt idx="81">
                  <c:v>733.85256035847397</c:v>
                </c:pt>
                <c:pt idx="82">
                  <c:v>742.43025600369799</c:v>
                </c:pt>
                <c:pt idx="83">
                  <c:v>742.43025600369799</c:v>
                </c:pt>
                <c:pt idx="84">
                  <c:v>750.87666395588997</c:v>
                </c:pt>
                <c:pt idx="85">
                  <c:v>759.19178421505103</c:v>
                </c:pt>
                <c:pt idx="86">
                  <c:v>767.36795633675001</c:v>
                </c:pt>
                <c:pt idx="87">
                  <c:v>775.41160819708296</c:v>
                </c:pt>
                <c:pt idx="88">
                  <c:v>783.32150722771598</c:v>
                </c:pt>
                <c:pt idx="89">
                  <c:v>791.09765342864898</c:v>
                </c:pt>
                <c:pt idx="90">
                  <c:v>798.73238635545204</c:v>
                </c:pt>
                <c:pt idx="91">
                  <c:v>806.238561760317</c:v>
                </c:pt>
                <c:pt idx="92">
                  <c:v>813.60851919881304</c:v>
                </c:pt>
                <c:pt idx="93">
                  <c:v>820.84868654703803</c:v>
                </c:pt>
                <c:pt idx="94">
                  <c:v>827.95140336055999</c:v>
                </c:pt>
                <c:pt idx="95">
                  <c:v>834.92433008380999</c:v>
                </c:pt>
                <c:pt idx="96">
                  <c:v>841.77908990064896</c:v>
                </c:pt>
                <c:pt idx="97">
                  <c:v>848.509254934978</c:v>
                </c:pt>
                <c:pt idx="98">
                  <c:v>855.11482518679804</c:v>
                </c:pt>
                <c:pt idx="99">
                  <c:v>861.60099596387101</c:v>
                </c:pt>
                <c:pt idx="100">
                  <c:v>867.98185558672606</c:v>
                </c:pt>
                <c:pt idx="101">
                  <c:v>874.24331573483505</c:v>
                </c:pt>
                <c:pt idx="102">
                  <c:v>880.39823216038997</c:v>
                </c:pt>
                <c:pt idx="103">
                  <c:v>886.44660486339296</c:v>
                </c:pt>
                <c:pt idx="104">
                  <c:v>892.39486171993997</c:v>
                </c:pt>
                <c:pt idx="105">
                  <c:v>898.25066317446203</c:v>
                </c:pt>
                <c:pt idx="106">
                  <c:v>904.01277665862494</c:v>
                </c:pt>
                <c:pt idx="107">
                  <c:v>909.68763004852599</c:v>
                </c:pt>
                <c:pt idx="108">
                  <c:v>915.28165122026098</c:v>
                </c:pt>
                <c:pt idx="109">
                  <c:v>920.79607274216505</c:v>
                </c:pt>
                <c:pt idx="110">
                  <c:v>926.24251779809799</c:v>
                </c:pt>
                <c:pt idx="111">
                  <c:v>931.61579108029696</c:v>
                </c:pt>
                <c:pt idx="112">
                  <c:v>936.921087896524</c:v>
                </c:pt>
                <c:pt idx="113">
                  <c:v>942.17249656730701</c:v>
                </c:pt>
                <c:pt idx="114">
                  <c:v>947.37767753707794</c:v>
                </c:pt>
                <c:pt idx="115">
                  <c:v>952.52130991697402</c:v>
                </c:pt>
                <c:pt idx="116">
                  <c:v>957.63157034805204</c:v>
                </c:pt>
                <c:pt idx="117">
                  <c:v>962.69437050978297</c:v>
                </c:pt>
                <c:pt idx="118">
                  <c:v>967.73788704322305</c:v>
                </c:pt>
                <c:pt idx="119">
                  <c:v>972.75322693560702</c:v>
                </c:pt>
                <c:pt idx="120">
                  <c:v>977.73519487917304</c:v>
                </c:pt>
                <c:pt idx="121">
                  <c:v>982.71073494664097</c:v>
                </c:pt>
                <c:pt idx="122">
                  <c:v>987.67218669358203</c:v>
                </c:pt>
                <c:pt idx="123">
                  <c:v>992.62721056442604</c:v>
                </c:pt>
                <c:pt idx="124">
                  <c:v>992.62523838300694</c:v>
                </c:pt>
                <c:pt idx="125">
                  <c:v>997.58610019912203</c:v>
                </c:pt>
                <c:pt idx="126">
                  <c:v>1002.54053406254</c:v>
                </c:pt>
                <c:pt idx="127">
                  <c:v>1007.49496800255</c:v>
                </c:pt>
                <c:pt idx="128">
                  <c:v>1012.44940194257</c:v>
                </c:pt>
                <c:pt idx="129">
                  <c:v>1017.40383580599</c:v>
                </c:pt>
                <c:pt idx="130">
                  <c:v>1022.358269746</c:v>
                </c:pt>
                <c:pt idx="131">
                  <c:v>1027.31913156212</c:v>
                </c:pt>
                <c:pt idx="132">
                  <c:v>1032.27356542553</c:v>
                </c:pt>
                <c:pt idx="133">
                  <c:v>1037.22799936555</c:v>
                </c:pt>
                <c:pt idx="134">
                  <c:v>1042.1824333055699</c:v>
                </c:pt>
                <c:pt idx="135">
                  <c:v>1047.1368672455901</c:v>
                </c:pt>
                <c:pt idx="136">
                  <c:v>1052.0913011089999</c:v>
                </c:pt>
                <c:pt idx="137">
                  <c:v>1057.0457350490201</c:v>
                </c:pt>
                <c:pt idx="138">
                  <c:v>1062.0065968651299</c:v>
                </c:pt>
                <c:pt idx="139">
                  <c:v>1066.96103072855</c:v>
                </c:pt>
              </c:numCache>
            </c:numRef>
          </c:xVal>
          <c:yVal>
            <c:numRef>
              <c:f>Tabelle1!$B$2:$B$653</c:f>
              <c:numCache>
                <c:formatCode>General</c:formatCode>
                <c:ptCount val="652"/>
                <c:pt idx="0">
                  <c:v>-1.2325683343243901</c:v>
                </c:pt>
                <c:pt idx="1">
                  <c:v>-6.6456414414384701</c:v>
                </c:pt>
                <c:pt idx="2">
                  <c:v>-12.072802869080601</c:v>
                </c:pt>
                <c:pt idx="3">
                  <c:v>-17.485875976194698</c:v>
                </c:pt>
                <c:pt idx="4">
                  <c:v>-22.905376959405601</c:v>
                </c:pt>
                <c:pt idx="5">
                  <c:v>-28.326110510950901</c:v>
                </c:pt>
                <c:pt idx="6">
                  <c:v>-33.745611494161899</c:v>
                </c:pt>
                <c:pt idx="7">
                  <c:v>-39.158684601276001</c:v>
                </c:pt>
                <c:pt idx="8">
                  <c:v>-44.585846028918098</c:v>
                </c:pt>
                <c:pt idx="9">
                  <c:v>-49.9989191360322</c:v>
                </c:pt>
                <c:pt idx="10">
                  <c:v>-55.418420119243102</c:v>
                </c:pt>
                <c:pt idx="11">
                  <c:v>-60.839153670788399</c:v>
                </c:pt>
                <c:pt idx="12">
                  <c:v>-66.258654653999301</c:v>
                </c:pt>
                <c:pt idx="13">
                  <c:v>-71.671727761113402</c:v>
                </c:pt>
                <c:pt idx="14">
                  <c:v>-77.098889188755606</c:v>
                </c:pt>
                <c:pt idx="15">
                  <c:v>-82.51196229586969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F13C-491B-A5E6-DF14310D3038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1</c:v>
                </c:pt>
              </c:strCache>
            </c:strRef>
          </c:tx>
          <c:spPr>
            <a:ln w="12700" cap="flat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xVal>
            <c:numRef>
              <c:f>Tabelle1!$A$2:$A$653</c:f>
              <c:numCache>
                <c:formatCode>0.00</c:formatCode>
                <c:ptCount val="652"/>
                <c:pt idx="0">
                  <c:v>14.088320528055201</c:v>
                </c:pt>
                <c:pt idx="1">
                  <c:v>22.4944337521938</c:v>
                </c:pt>
                <c:pt idx="2">
                  <c:v>30.899314407998101</c:v>
                </c:pt>
                <c:pt idx="3">
                  <c:v>39.305427632136698</c:v>
                </c:pt>
                <c:pt idx="4">
                  <c:v>47.703880411844203</c:v>
                </c:pt>
                <c:pt idx="5">
                  <c:v>56.116421512079697</c:v>
                </c:pt>
                <c:pt idx="6">
                  <c:v>64.514874291787095</c:v>
                </c:pt>
                <c:pt idx="7">
                  <c:v>72.920987515925702</c:v>
                </c:pt>
                <c:pt idx="8">
                  <c:v>81.325868171729994</c:v>
                </c:pt>
                <c:pt idx="9">
                  <c:v>89.731981395868601</c:v>
                </c:pt>
                <c:pt idx="10">
                  <c:v>98.130434175576099</c:v>
                </c:pt>
                <c:pt idx="11">
                  <c:v>106.542975275812</c:v>
                </c:pt>
                <c:pt idx="12">
                  <c:v>114.941428055519</c:v>
                </c:pt>
                <c:pt idx="13">
                  <c:v>123.347541279658</c:v>
                </c:pt>
                <c:pt idx="14">
                  <c:v>131.752421935462</c:v>
                </c:pt>
                <c:pt idx="15">
                  <c:v>140.158535159601</c:v>
                </c:pt>
                <c:pt idx="16">
                  <c:v>140.158535159601</c:v>
                </c:pt>
                <c:pt idx="17">
                  <c:v>148.55698793930799</c:v>
                </c:pt>
                <c:pt idx="18">
                  <c:v>156.97076160787799</c:v>
                </c:pt>
                <c:pt idx="19">
                  <c:v>165.38453527644799</c:v>
                </c:pt>
                <c:pt idx="20">
                  <c:v>173.80720195778301</c:v>
                </c:pt>
                <c:pt idx="21">
                  <c:v>182.25284997241201</c:v>
                </c:pt>
                <c:pt idx="22">
                  <c:v>190.70096312370899</c:v>
                </c:pt>
                <c:pt idx="23">
                  <c:v>199.187378497163</c:v>
                </c:pt>
                <c:pt idx="24">
                  <c:v>207.68391945171601</c:v>
                </c:pt>
                <c:pt idx="25">
                  <c:v>216.20590687623201</c:v>
                </c:pt>
                <c:pt idx="26">
                  <c:v>224.75976864680601</c:v>
                </c:pt>
                <c:pt idx="27">
                  <c:v>233.34796990010901</c:v>
                </c:pt>
                <c:pt idx="28">
                  <c:v>241.96804549947001</c:v>
                </c:pt>
                <c:pt idx="29">
                  <c:v>250.623693149894</c:v>
                </c:pt>
                <c:pt idx="30">
                  <c:v>259.32776860357302</c:v>
                </c:pt>
                <c:pt idx="31">
                  <c:v>268.06618353997999</c:v>
                </c:pt>
                <c:pt idx="32">
                  <c:v>276.861919292408</c:v>
                </c:pt>
                <c:pt idx="33">
                  <c:v>285.68679921980203</c:v>
                </c:pt>
                <c:pt idx="34">
                  <c:v>294.57666040764798</c:v>
                </c:pt>
                <c:pt idx="35">
                  <c:v>303.50332621489002</c:v>
                </c:pt>
                <c:pt idx="36">
                  <c:v>312.49620585091998</c:v>
                </c:pt>
                <c:pt idx="37">
                  <c:v>321.53478311911101</c:v>
                </c:pt>
                <c:pt idx="38">
                  <c:v>330.63314633999198</c:v>
                </c:pt>
                <c:pt idx="39">
                  <c:v>339.79252808189699</c:v>
                </c:pt>
                <c:pt idx="40">
                  <c:v>348.998840024299</c:v>
                </c:pt>
                <c:pt idx="41">
                  <c:v>358.26617048772403</c:v>
                </c:pt>
                <c:pt idx="42">
                  <c:v>367.596984608843</c:v>
                </c:pt>
                <c:pt idx="43">
                  <c:v>376.975961498792</c:v>
                </c:pt>
                <c:pt idx="44">
                  <c:v>386.41199417033801</c:v>
                </c:pt>
                <c:pt idx="45">
                  <c:v>395.91151049957602</c:v>
                </c:pt>
                <c:pt idx="46">
                  <c:v>405.46165473431398</c:v>
                </c:pt>
                <c:pt idx="47">
                  <c:v>415.06365944288501</c:v>
                </c:pt>
                <c:pt idx="48">
                  <c:v>424.72395250138601</c:v>
                </c:pt>
                <c:pt idx="49">
                  <c:v>434.42967815762398</c:v>
                </c:pt>
                <c:pt idx="50">
                  <c:v>444.18206897993298</c:v>
                </c:pt>
                <c:pt idx="51">
                  <c:v>453.98755284441</c:v>
                </c:pt>
                <c:pt idx="52">
                  <c:v>463.82561355442903</c:v>
                </c:pt>
                <c:pt idx="53">
                  <c:v>473.70514412275799</c:v>
                </c:pt>
                <c:pt idx="54">
                  <c:v>483.61848410496299</c:v>
                </c:pt>
                <c:pt idx="55">
                  <c:v>493.55277774885201</c:v>
                </c:pt>
                <c:pt idx="56">
                  <c:v>503.52211337495299</c:v>
                </c:pt>
                <c:pt idx="57">
                  <c:v>503.52211337495299</c:v>
                </c:pt>
                <c:pt idx="58">
                  <c:v>513.50597478663997</c:v>
                </c:pt>
                <c:pt idx="59">
                  <c:v>523.49793410781695</c:v>
                </c:pt>
                <c:pt idx="60">
                  <c:v>533.49033089405202</c:v>
                </c:pt>
                <c:pt idx="61">
                  <c:v>543.48959302144306</c:v>
                </c:pt>
                <c:pt idx="62">
                  <c:v>553.48286473779604</c:v>
                </c:pt>
                <c:pt idx="63">
                  <c:v>563.46371816701401</c:v>
                </c:pt>
                <c:pt idx="64">
                  <c:v>573.42202772799601</c:v>
                </c:pt>
                <c:pt idx="65">
                  <c:v>583.36025855741298</c:v>
                </c:pt>
                <c:pt idx="66">
                  <c:v>593.25666189030301</c:v>
                </c:pt>
                <c:pt idx="67">
                  <c:v>603.12409347886205</c:v>
                </c:pt>
                <c:pt idx="68">
                  <c:v>612.94326969479903</c:v>
                </c:pt>
                <c:pt idx="69">
                  <c:v>622.71172540144403</c:v>
                </c:pt>
                <c:pt idx="70">
                  <c:v>632.42426529103602</c:v>
                </c:pt>
                <c:pt idx="71">
                  <c:v>642.07199635080804</c:v>
                </c:pt>
                <c:pt idx="72">
                  <c:v>651.65615114909599</c:v>
                </c:pt>
                <c:pt idx="73">
                  <c:v>661.16906924146804</c:v>
                </c:pt>
                <c:pt idx="74">
                  <c:v>670.59542973906105</c:v>
                </c:pt>
                <c:pt idx="75">
                  <c:v>679.93646521021105</c:v>
                </c:pt>
                <c:pt idx="76">
                  <c:v>689.19094308658202</c:v>
                </c:pt>
                <c:pt idx="77">
                  <c:v>698.338347171549</c:v>
                </c:pt>
                <c:pt idx="78">
                  <c:v>707.38510534120996</c:v>
                </c:pt>
                <c:pt idx="79">
                  <c:v>716.32998502723103</c:v>
                </c:pt>
                <c:pt idx="80">
                  <c:v>725.14604215688905</c:v>
                </c:pt>
                <c:pt idx="81">
                  <c:v>733.85256035847397</c:v>
                </c:pt>
                <c:pt idx="82">
                  <c:v>742.43025600369799</c:v>
                </c:pt>
                <c:pt idx="83">
                  <c:v>742.43025600369799</c:v>
                </c:pt>
                <c:pt idx="84">
                  <c:v>750.87666395588997</c:v>
                </c:pt>
                <c:pt idx="85">
                  <c:v>759.19178421505103</c:v>
                </c:pt>
                <c:pt idx="86">
                  <c:v>767.36795633675001</c:v>
                </c:pt>
                <c:pt idx="87">
                  <c:v>775.41160819708296</c:v>
                </c:pt>
                <c:pt idx="88">
                  <c:v>783.32150722771598</c:v>
                </c:pt>
                <c:pt idx="89">
                  <c:v>791.09765342864898</c:v>
                </c:pt>
                <c:pt idx="90">
                  <c:v>798.73238635545204</c:v>
                </c:pt>
                <c:pt idx="91">
                  <c:v>806.238561760317</c:v>
                </c:pt>
                <c:pt idx="92">
                  <c:v>813.60851919881304</c:v>
                </c:pt>
                <c:pt idx="93">
                  <c:v>820.84868654703803</c:v>
                </c:pt>
                <c:pt idx="94">
                  <c:v>827.95140336055999</c:v>
                </c:pt>
                <c:pt idx="95">
                  <c:v>834.92433008380999</c:v>
                </c:pt>
                <c:pt idx="96">
                  <c:v>841.77908990064896</c:v>
                </c:pt>
                <c:pt idx="97">
                  <c:v>848.509254934978</c:v>
                </c:pt>
                <c:pt idx="98">
                  <c:v>855.11482518679804</c:v>
                </c:pt>
                <c:pt idx="99">
                  <c:v>861.60099596387101</c:v>
                </c:pt>
                <c:pt idx="100">
                  <c:v>867.98185558672606</c:v>
                </c:pt>
                <c:pt idx="101">
                  <c:v>874.24331573483505</c:v>
                </c:pt>
                <c:pt idx="102">
                  <c:v>880.39823216038997</c:v>
                </c:pt>
                <c:pt idx="103">
                  <c:v>886.44660486339296</c:v>
                </c:pt>
                <c:pt idx="104">
                  <c:v>892.39486171993997</c:v>
                </c:pt>
                <c:pt idx="105">
                  <c:v>898.25066317446203</c:v>
                </c:pt>
                <c:pt idx="106">
                  <c:v>904.01277665862494</c:v>
                </c:pt>
                <c:pt idx="107">
                  <c:v>909.68763004852599</c:v>
                </c:pt>
                <c:pt idx="108">
                  <c:v>915.28165122026098</c:v>
                </c:pt>
                <c:pt idx="109">
                  <c:v>920.79607274216505</c:v>
                </c:pt>
                <c:pt idx="110">
                  <c:v>926.24251779809799</c:v>
                </c:pt>
                <c:pt idx="111">
                  <c:v>931.61579108029696</c:v>
                </c:pt>
                <c:pt idx="112">
                  <c:v>936.921087896524</c:v>
                </c:pt>
                <c:pt idx="113">
                  <c:v>942.17249656730701</c:v>
                </c:pt>
                <c:pt idx="114">
                  <c:v>947.37767753707794</c:v>
                </c:pt>
                <c:pt idx="115">
                  <c:v>952.52130991697402</c:v>
                </c:pt>
                <c:pt idx="116">
                  <c:v>957.63157034805204</c:v>
                </c:pt>
                <c:pt idx="117">
                  <c:v>962.69437050978297</c:v>
                </c:pt>
                <c:pt idx="118">
                  <c:v>967.73788704322305</c:v>
                </c:pt>
                <c:pt idx="119">
                  <c:v>972.75322693560702</c:v>
                </c:pt>
                <c:pt idx="120">
                  <c:v>977.73519487917304</c:v>
                </c:pt>
                <c:pt idx="121">
                  <c:v>982.71073494664097</c:v>
                </c:pt>
                <c:pt idx="122">
                  <c:v>987.67218669358203</c:v>
                </c:pt>
                <c:pt idx="123">
                  <c:v>992.62721056442604</c:v>
                </c:pt>
                <c:pt idx="124">
                  <c:v>992.62523838300694</c:v>
                </c:pt>
                <c:pt idx="125">
                  <c:v>997.58610019912203</c:v>
                </c:pt>
                <c:pt idx="126">
                  <c:v>1002.54053406254</c:v>
                </c:pt>
                <c:pt idx="127">
                  <c:v>1007.49496800255</c:v>
                </c:pt>
                <c:pt idx="128">
                  <c:v>1012.44940194257</c:v>
                </c:pt>
                <c:pt idx="129">
                  <c:v>1017.40383580599</c:v>
                </c:pt>
                <c:pt idx="130">
                  <c:v>1022.358269746</c:v>
                </c:pt>
                <c:pt idx="131">
                  <c:v>1027.31913156212</c:v>
                </c:pt>
                <c:pt idx="132">
                  <c:v>1032.27356542553</c:v>
                </c:pt>
                <c:pt idx="133">
                  <c:v>1037.22799936555</c:v>
                </c:pt>
                <c:pt idx="134">
                  <c:v>1042.1824333055699</c:v>
                </c:pt>
                <c:pt idx="135">
                  <c:v>1047.1368672455901</c:v>
                </c:pt>
                <c:pt idx="136">
                  <c:v>1052.0913011089999</c:v>
                </c:pt>
                <c:pt idx="137">
                  <c:v>1057.0457350490201</c:v>
                </c:pt>
                <c:pt idx="138">
                  <c:v>1062.0065968651299</c:v>
                </c:pt>
                <c:pt idx="139">
                  <c:v>1066.96103072855</c:v>
                </c:pt>
              </c:numCache>
            </c:numRef>
          </c:xVal>
          <c:yVal>
            <c:numRef>
              <c:f>Tabelle1!$C$2:$C$653</c:f>
              <c:numCache>
                <c:formatCode>General</c:formatCode>
                <c:ptCount val="652"/>
                <c:pt idx="16">
                  <c:v>-82.511962295869694</c:v>
                </c:pt>
                <c:pt idx="17">
                  <c:v>-87.931463279080603</c:v>
                </c:pt>
                <c:pt idx="18">
                  <c:v>-93.338108510097797</c:v>
                </c:pt>
                <c:pt idx="19">
                  <c:v>-98.744753741115005</c:v>
                </c:pt>
                <c:pt idx="20">
                  <c:v>-104.130882775507</c:v>
                </c:pt>
                <c:pt idx="21">
                  <c:v>-109.49772818160901</c:v>
                </c:pt>
                <c:pt idx="22">
                  <c:v>-114.836396946655</c:v>
                </c:pt>
                <c:pt idx="23">
                  <c:v>-120.142926331216</c:v>
                </c:pt>
                <c:pt idx="24">
                  <c:v>-125.41485119862401</c:v>
                </c:pt>
                <c:pt idx="25">
                  <c:v>-130.63931579668599</c:v>
                </c:pt>
                <c:pt idx="26">
                  <c:v>-135.823980569832</c:v>
                </c:pt>
                <c:pt idx="27">
                  <c:v>-140.940668877006</c:v>
                </c:pt>
                <c:pt idx="28">
                  <c:v>-146.017557359265</c:v>
                </c:pt>
                <c:pt idx="29">
                  <c:v>-151.01238105502401</c:v>
                </c:pt>
                <c:pt idx="30">
                  <c:v>-155.94046085314599</c:v>
                </c:pt>
                <c:pt idx="31">
                  <c:v>-160.80056418529699</c:v>
                </c:pt>
                <c:pt idx="32">
                  <c:v>-165.57340742318499</c:v>
                </c:pt>
                <c:pt idx="33">
                  <c:v>-170.25652543014201</c:v>
                </c:pt>
                <c:pt idx="34">
                  <c:v>-174.84595546674001</c:v>
                </c:pt>
                <c:pt idx="35">
                  <c:v>-179.33923239631099</c:v>
                </c:pt>
                <c:pt idx="36">
                  <c:v>-183.72473303499399</c:v>
                </c:pt>
                <c:pt idx="37">
                  <c:v>-187.99356437002399</c:v>
                </c:pt>
                <c:pt idx="38">
                  <c:v>-192.146958969737</c:v>
                </c:pt>
                <c:pt idx="39">
                  <c:v>-196.170828513602</c:v>
                </c:pt>
                <c:pt idx="40">
                  <c:v>-200.063940433288</c:v>
                </c:pt>
                <c:pt idx="41">
                  <c:v>-203.82752729712601</c:v>
                </c:pt>
                <c:pt idx="42">
                  <c:v>-207.433412464063</c:v>
                </c:pt>
                <c:pt idx="43">
                  <c:v>-210.89445168629001</c:v>
                </c:pt>
                <c:pt idx="44">
                  <c:v>-214.19012876718401</c:v>
                </c:pt>
                <c:pt idx="45">
                  <c:v>-217.32810415117501</c:v>
                </c:pt>
                <c:pt idx="46">
                  <c:v>-220.293056949402</c:v>
                </c:pt>
                <c:pt idx="47">
                  <c:v>-223.07089884133501</c:v>
                </c:pt>
                <c:pt idx="48">
                  <c:v>-225.66929027140699</c:v>
                </c:pt>
                <c:pt idx="49">
                  <c:v>-228.072910350755</c:v>
                </c:pt>
                <c:pt idx="50">
                  <c:v>-230.26767075884999</c:v>
                </c:pt>
                <c:pt idx="51">
                  <c:v>-232.26123194012399</c:v>
                </c:pt>
                <c:pt idx="52">
                  <c:v>-234.04470088181199</c:v>
                </c:pt>
                <c:pt idx="53">
                  <c:v>-235.59756138728901</c:v>
                </c:pt>
                <c:pt idx="54">
                  <c:v>-236.92624133265099</c:v>
                </c:pt>
                <c:pt idx="55">
                  <c:v>-238.01541982903601</c:v>
                </c:pt>
                <c:pt idx="56">
                  <c:v>-238.8663294447779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F13C-491B-A5E6-DF14310D3038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Arc</c:v>
                </c:pt>
              </c:strCache>
            </c:strRef>
          </c:tx>
          <c:spPr>
            <a:ln w="12700" cap="flat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xVal>
            <c:numRef>
              <c:f>Tabelle1!$A$2:$A$653</c:f>
              <c:numCache>
                <c:formatCode>0.00</c:formatCode>
                <c:ptCount val="652"/>
                <c:pt idx="0">
                  <c:v>14.088320528055201</c:v>
                </c:pt>
                <c:pt idx="1">
                  <c:v>22.4944337521938</c:v>
                </c:pt>
                <c:pt idx="2">
                  <c:v>30.899314407998101</c:v>
                </c:pt>
                <c:pt idx="3">
                  <c:v>39.305427632136698</c:v>
                </c:pt>
                <c:pt idx="4">
                  <c:v>47.703880411844203</c:v>
                </c:pt>
                <c:pt idx="5">
                  <c:v>56.116421512079697</c:v>
                </c:pt>
                <c:pt idx="6">
                  <c:v>64.514874291787095</c:v>
                </c:pt>
                <c:pt idx="7">
                  <c:v>72.920987515925702</c:v>
                </c:pt>
                <c:pt idx="8">
                  <c:v>81.325868171729994</c:v>
                </c:pt>
                <c:pt idx="9">
                  <c:v>89.731981395868601</c:v>
                </c:pt>
                <c:pt idx="10">
                  <c:v>98.130434175576099</c:v>
                </c:pt>
                <c:pt idx="11">
                  <c:v>106.542975275812</c:v>
                </c:pt>
                <c:pt idx="12">
                  <c:v>114.941428055519</c:v>
                </c:pt>
                <c:pt idx="13">
                  <c:v>123.347541279658</c:v>
                </c:pt>
                <c:pt idx="14">
                  <c:v>131.752421935462</c:v>
                </c:pt>
                <c:pt idx="15">
                  <c:v>140.158535159601</c:v>
                </c:pt>
                <c:pt idx="16">
                  <c:v>140.158535159601</c:v>
                </c:pt>
                <c:pt idx="17">
                  <c:v>148.55698793930799</c:v>
                </c:pt>
                <c:pt idx="18">
                  <c:v>156.97076160787799</c:v>
                </c:pt>
                <c:pt idx="19">
                  <c:v>165.38453527644799</c:v>
                </c:pt>
                <c:pt idx="20">
                  <c:v>173.80720195778301</c:v>
                </c:pt>
                <c:pt idx="21">
                  <c:v>182.25284997241201</c:v>
                </c:pt>
                <c:pt idx="22">
                  <c:v>190.70096312370899</c:v>
                </c:pt>
                <c:pt idx="23">
                  <c:v>199.187378497163</c:v>
                </c:pt>
                <c:pt idx="24">
                  <c:v>207.68391945171601</c:v>
                </c:pt>
                <c:pt idx="25">
                  <c:v>216.20590687623201</c:v>
                </c:pt>
                <c:pt idx="26">
                  <c:v>224.75976864680601</c:v>
                </c:pt>
                <c:pt idx="27">
                  <c:v>233.34796990010901</c:v>
                </c:pt>
                <c:pt idx="28">
                  <c:v>241.96804549947001</c:v>
                </c:pt>
                <c:pt idx="29">
                  <c:v>250.623693149894</c:v>
                </c:pt>
                <c:pt idx="30">
                  <c:v>259.32776860357302</c:v>
                </c:pt>
                <c:pt idx="31">
                  <c:v>268.06618353997999</c:v>
                </c:pt>
                <c:pt idx="32">
                  <c:v>276.861919292408</c:v>
                </c:pt>
                <c:pt idx="33">
                  <c:v>285.68679921980203</c:v>
                </c:pt>
                <c:pt idx="34">
                  <c:v>294.57666040764798</c:v>
                </c:pt>
                <c:pt idx="35">
                  <c:v>303.50332621489002</c:v>
                </c:pt>
                <c:pt idx="36">
                  <c:v>312.49620585091998</c:v>
                </c:pt>
                <c:pt idx="37">
                  <c:v>321.53478311911101</c:v>
                </c:pt>
                <c:pt idx="38">
                  <c:v>330.63314633999198</c:v>
                </c:pt>
                <c:pt idx="39">
                  <c:v>339.79252808189699</c:v>
                </c:pt>
                <c:pt idx="40">
                  <c:v>348.998840024299</c:v>
                </c:pt>
                <c:pt idx="41">
                  <c:v>358.26617048772403</c:v>
                </c:pt>
                <c:pt idx="42">
                  <c:v>367.596984608843</c:v>
                </c:pt>
                <c:pt idx="43">
                  <c:v>376.975961498792</c:v>
                </c:pt>
                <c:pt idx="44">
                  <c:v>386.41199417033801</c:v>
                </c:pt>
                <c:pt idx="45">
                  <c:v>395.91151049957602</c:v>
                </c:pt>
                <c:pt idx="46">
                  <c:v>405.46165473431398</c:v>
                </c:pt>
                <c:pt idx="47">
                  <c:v>415.06365944288501</c:v>
                </c:pt>
                <c:pt idx="48">
                  <c:v>424.72395250138601</c:v>
                </c:pt>
                <c:pt idx="49">
                  <c:v>434.42967815762398</c:v>
                </c:pt>
                <c:pt idx="50">
                  <c:v>444.18206897993298</c:v>
                </c:pt>
                <c:pt idx="51">
                  <c:v>453.98755284441</c:v>
                </c:pt>
                <c:pt idx="52">
                  <c:v>463.82561355442903</c:v>
                </c:pt>
                <c:pt idx="53">
                  <c:v>473.70514412275799</c:v>
                </c:pt>
                <c:pt idx="54">
                  <c:v>483.61848410496299</c:v>
                </c:pt>
                <c:pt idx="55">
                  <c:v>493.55277774885201</c:v>
                </c:pt>
                <c:pt idx="56">
                  <c:v>503.52211337495299</c:v>
                </c:pt>
                <c:pt idx="57">
                  <c:v>503.52211337495299</c:v>
                </c:pt>
                <c:pt idx="58">
                  <c:v>513.50597478663997</c:v>
                </c:pt>
                <c:pt idx="59">
                  <c:v>523.49793410781695</c:v>
                </c:pt>
                <c:pt idx="60">
                  <c:v>533.49033089405202</c:v>
                </c:pt>
                <c:pt idx="61">
                  <c:v>543.48959302144306</c:v>
                </c:pt>
                <c:pt idx="62">
                  <c:v>553.48286473779604</c:v>
                </c:pt>
                <c:pt idx="63">
                  <c:v>563.46371816701401</c:v>
                </c:pt>
                <c:pt idx="64">
                  <c:v>573.42202772799601</c:v>
                </c:pt>
                <c:pt idx="65">
                  <c:v>583.36025855741298</c:v>
                </c:pt>
                <c:pt idx="66">
                  <c:v>593.25666189030301</c:v>
                </c:pt>
                <c:pt idx="67">
                  <c:v>603.12409347886205</c:v>
                </c:pt>
                <c:pt idx="68">
                  <c:v>612.94326969479903</c:v>
                </c:pt>
                <c:pt idx="69">
                  <c:v>622.71172540144403</c:v>
                </c:pt>
                <c:pt idx="70">
                  <c:v>632.42426529103602</c:v>
                </c:pt>
                <c:pt idx="71">
                  <c:v>642.07199635080804</c:v>
                </c:pt>
                <c:pt idx="72">
                  <c:v>651.65615114909599</c:v>
                </c:pt>
                <c:pt idx="73">
                  <c:v>661.16906924146804</c:v>
                </c:pt>
                <c:pt idx="74">
                  <c:v>670.59542973906105</c:v>
                </c:pt>
                <c:pt idx="75">
                  <c:v>679.93646521021105</c:v>
                </c:pt>
                <c:pt idx="76">
                  <c:v>689.19094308658202</c:v>
                </c:pt>
                <c:pt idx="77">
                  <c:v>698.338347171549</c:v>
                </c:pt>
                <c:pt idx="78">
                  <c:v>707.38510534120996</c:v>
                </c:pt>
                <c:pt idx="79">
                  <c:v>716.32998502723103</c:v>
                </c:pt>
                <c:pt idx="80">
                  <c:v>725.14604215688905</c:v>
                </c:pt>
                <c:pt idx="81">
                  <c:v>733.85256035847397</c:v>
                </c:pt>
                <c:pt idx="82">
                  <c:v>742.43025600369799</c:v>
                </c:pt>
                <c:pt idx="83">
                  <c:v>742.43025600369799</c:v>
                </c:pt>
                <c:pt idx="84">
                  <c:v>750.87666395588997</c:v>
                </c:pt>
                <c:pt idx="85">
                  <c:v>759.19178421505103</c:v>
                </c:pt>
                <c:pt idx="86">
                  <c:v>767.36795633675001</c:v>
                </c:pt>
                <c:pt idx="87">
                  <c:v>775.41160819708296</c:v>
                </c:pt>
                <c:pt idx="88">
                  <c:v>783.32150722771598</c:v>
                </c:pt>
                <c:pt idx="89">
                  <c:v>791.09765342864898</c:v>
                </c:pt>
                <c:pt idx="90">
                  <c:v>798.73238635545204</c:v>
                </c:pt>
                <c:pt idx="91">
                  <c:v>806.238561760317</c:v>
                </c:pt>
                <c:pt idx="92">
                  <c:v>813.60851919881304</c:v>
                </c:pt>
                <c:pt idx="93">
                  <c:v>820.84868654703803</c:v>
                </c:pt>
                <c:pt idx="94">
                  <c:v>827.95140336055999</c:v>
                </c:pt>
                <c:pt idx="95">
                  <c:v>834.92433008380999</c:v>
                </c:pt>
                <c:pt idx="96">
                  <c:v>841.77908990064896</c:v>
                </c:pt>
                <c:pt idx="97">
                  <c:v>848.509254934978</c:v>
                </c:pt>
                <c:pt idx="98">
                  <c:v>855.11482518679804</c:v>
                </c:pt>
                <c:pt idx="99">
                  <c:v>861.60099596387101</c:v>
                </c:pt>
                <c:pt idx="100">
                  <c:v>867.98185558672606</c:v>
                </c:pt>
                <c:pt idx="101">
                  <c:v>874.24331573483505</c:v>
                </c:pt>
                <c:pt idx="102">
                  <c:v>880.39823216038997</c:v>
                </c:pt>
                <c:pt idx="103">
                  <c:v>886.44660486339296</c:v>
                </c:pt>
                <c:pt idx="104">
                  <c:v>892.39486171993997</c:v>
                </c:pt>
                <c:pt idx="105">
                  <c:v>898.25066317446203</c:v>
                </c:pt>
                <c:pt idx="106">
                  <c:v>904.01277665862494</c:v>
                </c:pt>
                <c:pt idx="107">
                  <c:v>909.68763004852599</c:v>
                </c:pt>
                <c:pt idx="108">
                  <c:v>915.28165122026098</c:v>
                </c:pt>
                <c:pt idx="109">
                  <c:v>920.79607274216505</c:v>
                </c:pt>
                <c:pt idx="110">
                  <c:v>926.24251779809799</c:v>
                </c:pt>
                <c:pt idx="111">
                  <c:v>931.61579108029696</c:v>
                </c:pt>
                <c:pt idx="112">
                  <c:v>936.921087896524</c:v>
                </c:pt>
                <c:pt idx="113">
                  <c:v>942.17249656730701</c:v>
                </c:pt>
                <c:pt idx="114">
                  <c:v>947.37767753707794</c:v>
                </c:pt>
                <c:pt idx="115">
                  <c:v>952.52130991697402</c:v>
                </c:pt>
                <c:pt idx="116">
                  <c:v>957.63157034805204</c:v>
                </c:pt>
                <c:pt idx="117">
                  <c:v>962.69437050978297</c:v>
                </c:pt>
                <c:pt idx="118">
                  <c:v>967.73788704322305</c:v>
                </c:pt>
                <c:pt idx="119">
                  <c:v>972.75322693560702</c:v>
                </c:pt>
                <c:pt idx="120">
                  <c:v>977.73519487917304</c:v>
                </c:pt>
                <c:pt idx="121">
                  <c:v>982.71073494664097</c:v>
                </c:pt>
                <c:pt idx="122">
                  <c:v>987.67218669358203</c:v>
                </c:pt>
                <c:pt idx="123">
                  <c:v>992.62721056442604</c:v>
                </c:pt>
                <c:pt idx="124">
                  <c:v>992.62523838300694</c:v>
                </c:pt>
                <c:pt idx="125">
                  <c:v>997.58610019912203</c:v>
                </c:pt>
                <c:pt idx="126">
                  <c:v>1002.54053406254</c:v>
                </c:pt>
                <c:pt idx="127">
                  <c:v>1007.49496800255</c:v>
                </c:pt>
                <c:pt idx="128">
                  <c:v>1012.44940194257</c:v>
                </c:pt>
                <c:pt idx="129">
                  <c:v>1017.40383580599</c:v>
                </c:pt>
                <c:pt idx="130">
                  <c:v>1022.358269746</c:v>
                </c:pt>
                <c:pt idx="131">
                  <c:v>1027.31913156212</c:v>
                </c:pt>
                <c:pt idx="132">
                  <c:v>1032.27356542553</c:v>
                </c:pt>
                <c:pt idx="133">
                  <c:v>1037.22799936555</c:v>
                </c:pt>
                <c:pt idx="134">
                  <c:v>1042.1824333055699</c:v>
                </c:pt>
                <c:pt idx="135">
                  <c:v>1047.1368672455901</c:v>
                </c:pt>
                <c:pt idx="136">
                  <c:v>1052.0913011089999</c:v>
                </c:pt>
                <c:pt idx="137">
                  <c:v>1057.0457350490201</c:v>
                </c:pt>
                <c:pt idx="138">
                  <c:v>1062.0065968651299</c:v>
                </c:pt>
                <c:pt idx="139">
                  <c:v>1066.96103072855</c:v>
                </c:pt>
              </c:numCache>
            </c:numRef>
          </c:xVal>
          <c:yVal>
            <c:numRef>
              <c:f>Tabelle1!$D$2:$D$653</c:f>
              <c:numCache>
                <c:formatCode>General</c:formatCode>
                <c:ptCount val="652"/>
                <c:pt idx="57">
                  <c:v>-238.86632944477799</c:v>
                </c:pt>
                <c:pt idx="58">
                  <c:v>-239.470077167113</c:v>
                </c:pt>
                <c:pt idx="59">
                  <c:v>-239.81900255160801</c:v>
                </c:pt>
                <c:pt idx="60">
                  <c:v>-239.91953347436001</c:v>
                </c:pt>
                <c:pt idx="61">
                  <c:v>-239.779330379801</c:v>
                </c:pt>
                <c:pt idx="62">
                  <c:v>-239.38307237906901</c:v>
                </c:pt>
                <c:pt idx="63">
                  <c:v>-238.72309902773199</c:v>
                </c:pt>
                <c:pt idx="64">
                  <c:v>-237.83401484294299</c:v>
                </c:pt>
                <c:pt idx="65">
                  <c:v>-236.687643183646</c:v>
                </c:pt>
                <c:pt idx="66">
                  <c:v>-235.28917935760299</c:v>
                </c:pt>
                <c:pt idx="67">
                  <c:v>-233.65394425367799</c:v>
                </c:pt>
                <c:pt idx="68">
                  <c:v>-231.758956538576</c:v>
                </c:pt>
                <c:pt idx="69">
                  <c:v>-229.632392853353</c:v>
                </c:pt>
                <c:pt idx="70">
                  <c:v>-227.252504433051</c:v>
                </c:pt>
                <c:pt idx="71">
                  <c:v>-224.63980747429301</c:v>
                </c:pt>
                <c:pt idx="72">
                  <c:v>-221.780213656553</c:v>
                </c:pt>
                <c:pt idx="73">
                  <c:v>-218.680150855927</c:v>
                </c:pt>
                <c:pt idx="74">
                  <c:v>-215.352474824609</c:v>
                </c:pt>
                <c:pt idx="75">
                  <c:v>-211.78309724207</c:v>
                </c:pt>
                <c:pt idx="76">
                  <c:v>-207.98610642883901</c:v>
                </c:pt>
                <c:pt idx="77">
                  <c:v>-203.95260937214999</c:v>
                </c:pt>
                <c:pt idx="78">
                  <c:v>-199.690266516435</c:v>
                </c:pt>
                <c:pt idx="79">
                  <c:v>-195.21316618222099</c:v>
                </c:pt>
                <c:pt idx="80">
                  <c:v>-190.50475491231199</c:v>
                </c:pt>
                <c:pt idx="81">
                  <c:v>-185.58801404000101</c:v>
                </c:pt>
                <c:pt idx="82">
                  <c:v>-180.43996223199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F13C-491B-A5E6-DF14310D3038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2</c:v>
                </c:pt>
              </c:strCache>
            </c:strRef>
          </c:tx>
          <c:spPr>
            <a:ln w="12700" cap="flat">
              <a:solidFill>
                <a:schemeClr val="tx1"/>
              </a:solidFill>
              <a:prstDash val="sysDash"/>
              <a:miter lim="800000"/>
            </a:ln>
            <a:effectLst/>
          </c:spPr>
          <c:marker>
            <c:symbol val="none"/>
          </c:marker>
          <c:xVal>
            <c:numRef>
              <c:f>Tabelle1!$A$2:$A$653</c:f>
              <c:numCache>
                <c:formatCode>0.00</c:formatCode>
                <c:ptCount val="652"/>
                <c:pt idx="0">
                  <c:v>14.088320528055201</c:v>
                </c:pt>
                <c:pt idx="1">
                  <c:v>22.4944337521938</c:v>
                </c:pt>
                <c:pt idx="2">
                  <c:v>30.899314407998101</c:v>
                </c:pt>
                <c:pt idx="3">
                  <c:v>39.305427632136698</c:v>
                </c:pt>
                <c:pt idx="4">
                  <c:v>47.703880411844203</c:v>
                </c:pt>
                <c:pt idx="5">
                  <c:v>56.116421512079697</c:v>
                </c:pt>
                <c:pt idx="6">
                  <c:v>64.514874291787095</c:v>
                </c:pt>
                <c:pt idx="7">
                  <c:v>72.920987515925702</c:v>
                </c:pt>
                <c:pt idx="8">
                  <c:v>81.325868171729994</c:v>
                </c:pt>
                <c:pt idx="9">
                  <c:v>89.731981395868601</c:v>
                </c:pt>
                <c:pt idx="10">
                  <c:v>98.130434175576099</c:v>
                </c:pt>
                <c:pt idx="11">
                  <c:v>106.542975275812</c:v>
                </c:pt>
                <c:pt idx="12">
                  <c:v>114.941428055519</c:v>
                </c:pt>
                <c:pt idx="13">
                  <c:v>123.347541279658</c:v>
                </c:pt>
                <c:pt idx="14">
                  <c:v>131.752421935462</c:v>
                </c:pt>
                <c:pt idx="15">
                  <c:v>140.158535159601</c:v>
                </c:pt>
                <c:pt idx="16">
                  <c:v>140.158535159601</c:v>
                </c:pt>
                <c:pt idx="17">
                  <c:v>148.55698793930799</c:v>
                </c:pt>
                <c:pt idx="18">
                  <c:v>156.97076160787799</c:v>
                </c:pt>
                <c:pt idx="19">
                  <c:v>165.38453527644799</c:v>
                </c:pt>
                <c:pt idx="20">
                  <c:v>173.80720195778301</c:v>
                </c:pt>
                <c:pt idx="21">
                  <c:v>182.25284997241201</c:v>
                </c:pt>
                <c:pt idx="22">
                  <c:v>190.70096312370899</c:v>
                </c:pt>
                <c:pt idx="23">
                  <c:v>199.187378497163</c:v>
                </c:pt>
                <c:pt idx="24">
                  <c:v>207.68391945171601</c:v>
                </c:pt>
                <c:pt idx="25">
                  <c:v>216.20590687623201</c:v>
                </c:pt>
                <c:pt idx="26">
                  <c:v>224.75976864680601</c:v>
                </c:pt>
                <c:pt idx="27">
                  <c:v>233.34796990010901</c:v>
                </c:pt>
                <c:pt idx="28">
                  <c:v>241.96804549947001</c:v>
                </c:pt>
                <c:pt idx="29">
                  <c:v>250.623693149894</c:v>
                </c:pt>
                <c:pt idx="30">
                  <c:v>259.32776860357302</c:v>
                </c:pt>
                <c:pt idx="31">
                  <c:v>268.06618353997999</c:v>
                </c:pt>
                <c:pt idx="32">
                  <c:v>276.861919292408</c:v>
                </c:pt>
                <c:pt idx="33">
                  <c:v>285.68679921980203</c:v>
                </c:pt>
                <c:pt idx="34">
                  <c:v>294.57666040764798</c:v>
                </c:pt>
                <c:pt idx="35">
                  <c:v>303.50332621489002</c:v>
                </c:pt>
                <c:pt idx="36">
                  <c:v>312.49620585091998</c:v>
                </c:pt>
                <c:pt idx="37">
                  <c:v>321.53478311911101</c:v>
                </c:pt>
                <c:pt idx="38">
                  <c:v>330.63314633999198</c:v>
                </c:pt>
                <c:pt idx="39">
                  <c:v>339.79252808189699</c:v>
                </c:pt>
                <c:pt idx="40">
                  <c:v>348.998840024299</c:v>
                </c:pt>
                <c:pt idx="41">
                  <c:v>358.26617048772403</c:v>
                </c:pt>
                <c:pt idx="42">
                  <c:v>367.596984608843</c:v>
                </c:pt>
                <c:pt idx="43">
                  <c:v>376.975961498792</c:v>
                </c:pt>
                <c:pt idx="44">
                  <c:v>386.41199417033801</c:v>
                </c:pt>
                <c:pt idx="45">
                  <c:v>395.91151049957602</c:v>
                </c:pt>
                <c:pt idx="46">
                  <c:v>405.46165473431398</c:v>
                </c:pt>
                <c:pt idx="47">
                  <c:v>415.06365944288501</c:v>
                </c:pt>
                <c:pt idx="48">
                  <c:v>424.72395250138601</c:v>
                </c:pt>
                <c:pt idx="49">
                  <c:v>434.42967815762398</c:v>
                </c:pt>
                <c:pt idx="50">
                  <c:v>444.18206897993298</c:v>
                </c:pt>
                <c:pt idx="51">
                  <c:v>453.98755284441</c:v>
                </c:pt>
                <c:pt idx="52">
                  <c:v>463.82561355442903</c:v>
                </c:pt>
                <c:pt idx="53">
                  <c:v>473.70514412275799</c:v>
                </c:pt>
                <c:pt idx="54">
                  <c:v>483.61848410496299</c:v>
                </c:pt>
                <c:pt idx="55">
                  <c:v>493.55277774885201</c:v>
                </c:pt>
                <c:pt idx="56">
                  <c:v>503.52211337495299</c:v>
                </c:pt>
                <c:pt idx="57">
                  <c:v>503.52211337495299</c:v>
                </c:pt>
                <c:pt idx="58">
                  <c:v>513.50597478663997</c:v>
                </c:pt>
                <c:pt idx="59">
                  <c:v>523.49793410781695</c:v>
                </c:pt>
                <c:pt idx="60">
                  <c:v>533.49033089405202</c:v>
                </c:pt>
                <c:pt idx="61">
                  <c:v>543.48959302144306</c:v>
                </c:pt>
                <c:pt idx="62">
                  <c:v>553.48286473779604</c:v>
                </c:pt>
                <c:pt idx="63">
                  <c:v>563.46371816701401</c:v>
                </c:pt>
                <c:pt idx="64">
                  <c:v>573.42202772799601</c:v>
                </c:pt>
                <c:pt idx="65">
                  <c:v>583.36025855741298</c:v>
                </c:pt>
                <c:pt idx="66">
                  <c:v>593.25666189030301</c:v>
                </c:pt>
                <c:pt idx="67">
                  <c:v>603.12409347886205</c:v>
                </c:pt>
                <c:pt idx="68">
                  <c:v>612.94326969479903</c:v>
                </c:pt>
                <c:pt idx="69">
                  <c:v>622.71172540144403</c:v>
                </c:pt>
                <c:pt idx="70">
                  <c:v>632.42426529103602</c:v>
                </c:pt>
                <c:pt idx="71">
                  <c:v>642.07199635080804</c:v>
                </c:pt>
                <c:pt idx="72">
                  <c:v>651.65615114909599</c:v>
                </c:pt>
                <c:pt idx="73">
                  <c:v>661.16906924146804</c:v>
                </c:pt>
                <c:pt idx="74">
                  <c:v>670.59542973906105</c:v>
                </c:pt>
                <c:pt idx="75">
                  <c:v>679.93646521021105</c:v>
                </c:pt>
                <c:pt idx="76">
                  <c:v>689.19094308658202</c:v>
                </c:pt>
                <c:pt idx="77">
                  <c:v>698.338347171549</c:v>
                </c:pt>
                <c:pt idx="78">
                  <c:v>707.38510534120996</c:v>
                </c:pt>
                <c:pt idx="79">
                  <c:v>716.32998502723103</c:v>
                </c:pt>
                <c:pt idx="80">
                  <c:v>725.14604215688905</c:v>
                </c:pt>
                <c:pt idx="81">
                  <c:v>733.85256035847397</c:v>
                </c:pt>
                <c:pt idx="82">
                  <c:v>742.43025600369799</c:v>
                </c:pt>
                <c:pt idx="83">
                  <c:v>742.43025600369799</c:v>
                </c:pt>
                <c:pt idx="84">
                  <c:v>750.87666395588997</c:v>
                </c:pt>
                <c:pt idx="85">
                  <c:v>759.19178421505103</c:v>
                </c:pt>
                <c:pt idx="86">
                  <c:v>767.36795633675001</c:v>
                </c:pt>
                <c:pt idx="87">
                  <c:v>775.41160819708296</c:v>
                </c:pt>
                <c:pt idx="88">
                  <c:v>783.32150722771598</c:v>
                </c:pt>
                <c:pt idx="89">
                  <c:v>791.09765342864898</c:v>
                </c:pt>
                <c:pt idx="90">
                  <c:v>798.73238635545204</c:v>
                </c:pt>
                <c:pt idx="91">
                  <c:v>806.238561760317</c:v>
                </c:pt>
                <c:pt idx="92">
                  <c:v>813.60851919881304</c:v>
                </c:pt>
                <c:pt idx="93">
                  <c:v>820.84868654703803</c:v>
                </c:pt>
                <c:pt idx="94">
                  <c:v>827.95140336055999</c:v>
                </c:pt>
                <c:pt idx="95">
                  <c:v>834.92433008380999</c:v>
                </c:pt>
                <c:pt idx="96">
                  <c:v>841.77908990064896</c:v>
                </c:pt>
                <c:pt idx="97">
                  <c:v>848.509254934978</c:v>
                </c:pt>
                <c:pt idx="98">
                  <c:v>855.11482518679804</c:v>
                </c:pt>
                <c:pt idx="99">
                  <c:v>861.60099596387101</c:v>
                </c:pt>
                <c:pt idx="100">
                  <c:v>867.98185558672606</c:v>
                </c:pt>
                <c:pt idx="101">
                  <c:v>874.24331573483505</c:v>
                </c:pt>
                <c:pt idx="102">
                  <c:v>880.39823216038997</c:v>
                </c:pt>
                <c:pt idx="103">
                  <c:v>886.44660486339296</c:v>
                </c:pt>
                <c:pt idx="104">
                  <c:v>892.39486171993997</c:v>
                </c:pt>
                <c:pt idx="105">
                  <c:v>898.25066317446203</c:v>
                </c:pt>
                <c:pt idx="106">
                  <c:v>904.01277665862494</c:v>
                </c:pt>
                <c:pt idx="107">
                  <c:v>909.68763004852599</c:v>
                </c:pt>
                <c:pt idx="108">
                  <c:v>915.28165122026098</c:v>
                </c:pt>
                <c:pt idx="109">
                  <c:v>920.79607274216505</c:v>
                </c:pt>
                <c:pt idx="110">
                  <c:v>926.24251779809799</c:v>
                </c:pt>
                <c:pt idx="111">
                  <c:v>931.61579108029696</c:v>
                </c:pt>
                <c:pt idx="112">
                  <c:v>936.921087896524</c:v>
                </c:pt>
                <c:pt idx="113">
                  <c:v>942.17249656730701</c:v>
                </c:pt>
                <c:pt idx="114">
                  <c:v>947.37767753707794</c:v>
                </c:pt>
                <c:pt idx="115">
                  <c:v>952.52130991697402</c:v>
                </c:pt>
                <c:pt idx="116">
                  <c:v>957.63157034805204</c:v>
                </c:pt>
                <c:pt idx="117">
                  <c:v>962.69437050978297</c:v>
                </c:pt>
                <c:pt idx="118">
                  <c:v>967.73788704322305</c:v>
                </c:pt>
                <c:pt idx="119">
                  <c:v>972.75322693560702</c:v>
                </c:pt>
                <c:pt idx="120">
                  <c:v>977.73519487917304</c:v>
                </c:pt>
                <c:pt idx="121">
                  <c:v>982.71073494664097</c:v>
                </c:pt>
                <c:pt idx="122">
                  <c:v>987.67218669358203</c:v>
                </c:pt>
                <c:pt idx="123">
                  <c:v>992.62721056442604</c:v>
                </c:pt>
                <c:pt idx="124">
                  <c:v>992.62523838300694</c:v>
                </c:pt>
                <c:pt idx="125">
                  <c:v>997.58610019912203</c:v>
                </c:pt>
                <c:pt idx="126">
                  <c:v>1002.54053406254</c:v>
                </c:pt>
                <c:pt idx="127">
                  <c:v>1007.49496800255</c:v>
                </c:pt>
                <c:pt idx="128">
                  <c:v>1012.44940194257</c:v>
                </c:pt>
                <c:pt idx="129">
                  <c:v>1017.40383580599</c:v>
                </c:pt>
                <c:pt idx="130">
                  <c:v>1022.358269746</c:v>
                </c:pt>
                <c:pt idx="131">
                  <c:v>1027.31913156212</c:v>
                </c:pt>
                <c:pt idx="132">
                  <c:v>1032.27356542553</c:v>
                </c:pt>
                <c:pt idx="133">
                  <c:v>1037.22799936555</c:v>
                </c:pt>
                <c:pt idx="134">
                  <c:v>1042.1824333055699</c:v>
                </c:pt>
                <c:pt idx="135">
                  <c:v>1047.1368672455901</c:v>
                </c:pt>
                <c:pt idx="136">
                  <c:v>1052.0913011089999</c:v>
                </c:pt>
                <c:pt idx="137">
                  <c:v>1057.0457350490201</c:v>
                </c:pt>
                <c:pt idx="138">
                  <c:v>1062.0065968651299</c:v>
                </c:pt>
                <c:pt idx="139">
                  <c:v>1066.96103072855</c:v>
                </c:pt>
              </c:numCache>
            </c:numRef>
          </c:xVal>
          <c:yVal>
            <c:numRef>
              <c:f>Tabelle1!$E$2:$E$653</c:f>
              <c:numCache>
                <c:formatCode>General</c:formatCode>
                <c:ptCount val="652"/>
                <c:pt idx="83">
                  <c:v>-180.439962231994</c:v>
                </c:pt>
                <c:pt idx="84">
                  <c:v>-175.08877612934899</c:v>
                </c:pt>
                <c:pt idx="85">
                  <c:v>-169.534455732065</c:v>
                </c:pt>
                <c:pt idx="86">
                  <c:v>-163.78342891623799</c:v>
                </c:pt>
                <c:pt idx="87">
                  <c:v>-157.84335612629999</c:v>
                </c:pt>
                <c:pt idx="88">
                  <c:v>-151.728325682779</c:v>
                </c:pt>
                <c:pt idx="89">
                  <c:v>-145.43833758567499</c:v>
                </c:pt>
                <c:pt idx="90">
                  <c:v>-138.97981971108501</c:v>
                </c:pt>
                <c:pt idx="91">
                  <c:v>-132.36809294787099</c:v>
                </c:pt>
                <c:pt idx="92">
                  <c:v>-125.60958517213</c:v>
                </c:pt>
                <c:pt idx="93">
                  <c:v>-118.711956828293</c:v>
                </c:pt>
                <c:pt idx="94">
                  <c:v>-111.681635792458</c:v>
                </c:pt>
                <c:pt idx="95">
                  <c:v>-104.512194188527</c:v>
                </c:pt>
                <c:pt idx="96">
                  <c:v>-97.233041225890005</c:v>
                </c:pt>
                <c:pt idx="97">
                  <c:v>-89.836516460116997</c:v>
                </c:pt>
                <c:pt idx="98">
                  <c:v>-82.322619891207495</c:v>
                </c:pt>
                <c:pt idx="99">
                  <c:v>-74.713100284120699</c:v>
                </c:pt>
                <c:pt idx="100">
                  <c:v>-67.009190207190997</c:v>
                </c:pt>
                <c:pt idx="101">
                  <c:v>-59.209657092084001</c:v>
                </c:pt>
                <c:pt idx="102">
                  <c:v>-51.3298218276623</c:v>
                </c:pt>
                <c:pt idx="103">
                  <c:v>-43.369684413925498</c:v>
                </c:pt>
                <c:pt idx="104">
                  <c:v>-35.336905295305101</c:v>
                </c:pt>
                <c:pt idx="105">
                  <c:v>-27.2250565957041</c:v>
                </c:pt>
                <c:pt idx="106">
                  <c:v>-19.0482266356507</c:v>
                </c:pt>
                <c:pt idx="107">
                  <c:v>-10.8140758595761</c:v>
                </c:pt>
                <c:pt idx="108">
                  <c:v>-2.5302647119111699</c:v>
                </c:pt>
                <c:pt idx="109">
                  <c:v>5.8172951278718301</c:v>
                </c:pt>
                <c:pt idx="110">
                  <c:v>14.1991944503825</c:v>
                </c:pt>
                <c:pt idx="111">
                  <c:v>22.637182020580301</c:v>
                </c:pt>
                <c:pt idx="112">
                  <c:v>31.109509073505698</c:v>
                </c:pt>
                <c:pt idx="113">
                  <c:v>39.6149430408245</c:v>
                </c:pt>
                <c:pt idx="114">
                  <c:v>48.159911798633601</c:v>
                </c:pt>
                <c:pt idx="115">
                  <c:v>56.731559594739302</c:v>
                </c:pt>
                <c:pt idx="116">
                  <c:v>65.327421292472906</c:v>
                </c:pt>
                <c:pt idx="117">
                  <c:v>73.948729460168593</c:v>
                </c:pt>
                <c:pt idx="118">
                  <c:v>82.593018961157995</c:v>
                </c:pt>
                <c:pt idx="119">
                  <c:v>91.239773598816001</c:v>
                </c:pt>
                <c:pt idx="120">
                  <c:v>99.910742138101796</c:v>
                </c:pt>
                <c:pt idx="121">
                  <c:v>108.589371121819</c:v>
                </c:pt>
                <c:pt idx="122">
                  <c:v>117.26923267386999</c:v>
                </c:pt>
                <c:pt idx="123">
                  <c:v>125.9567546703530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F13C-491B-A5E6-DF14310D3038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L2</c:v>
                </c:pt>
              </c:strCache>
            </c:strRef>
          </c:tx>
          <c:spPr>
            <a:ln w="12700" cap="flat">
              <a:solidFill>
                <a:schemeClr val="tx1"/>
              </a:solidFill>
              <a:prstDash val="sysDot"/>
              <a:round/>
            </a:ln>
            <a:effectLst/>
          </c:spPr>
          <c:marker>
            <c:symbol val="none"/>
          </c:marker>
          <c:dPt>
            <c:idx val="138"/>
            <c:marker>
              <c:symbol val="none"/>
            </c:marker>
            <c:bubble3D val="0"/>
            <c:spPr>
              <a:ln w="12700" cap="flat">
                <a:solidFill>
                  <a:schemeClr val="tx1"/>
                </a:solidFill>
                <a:prstDash val="sysDot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5-F13C-491B-A5E6-DF14310D3038}"/>
              </c:ext>
            </c:extLst>
          </c:dPt>
          <c:xVal>
            <c:numRef>
              <c:f>Tabelle1!$A$2:$A$653</c:f>
              <c:numCache>
                <c:formatCode>0.00</c:formatCode>
                <c:ptCount val="652"/>
                <c:pt idx="0">
                  <c:v>14.088320528055201</c:v>
                </c:pt>
                <c:pt idx="1">
                  <c:v>22.4944337521938</c:v>
                </c:pt>
                <c:pt idx="2">
                  <c:v>30.899314407998101</c:v>
                </c:pt>
                <c:pt idx="3">
                  <c:v>39.305427632136698</c:v>
                </c:pt>
                <c:pt idx="4">
                  <c:v>47.703880411844203</c:v>
                </c:pt>
                <c:pt idx="5">
                  <c:v>56.116421512079697</c:v>
                </c:pt>
                <c:pt idx="6">
                  <c:v>64.514874291787095</c:v>
                </c:pt>
                <c:pt idx="7">
                  <c:v>72.920987515925702</c:v>
                </c:pt>
                <c:pt idx="8">
                  <c:v>81.325868171729994</c:v>
                </c:pt>
                <c:pt idx="9">
                  <c:v>89.731981395868601</c:v>
                </c:pt>
                <c:pt idx="10">
                  <c:v>98.130434175576099</c:v>
                </c:pt>
                <c:pt idx="11">
                  <c:v>106.542975275812</c:v>
                </c:pt>
                <c:pt idx="12">
                  <c:v>114.941428055519</c:v>
                </c:pt>
                <c:pt idx="13">
                  <c:v>123.347541279658</c:v>
                </c:pt>
                <c:pt idx="14">
                  <c:v>131.752421935462</c:v>
                </c:pt>
                <c:pt idx="15">
                  <c:v>140.158535159601</c:v>
                </c:pt>
                <c:pt idx="16">
                  <c:v>140.158535159601</c:v>
                </c:pt>
                <c:pt idx="17">
                  <c:v>148.55698793930799</c:v>
                </c:pt>
                <c:pt idx="18">
                  <c:v>156.97076160787799</c:v>
                </c:pt>
                <c:pt idx="19">
                  <c:v>165.38453527644799</c:v>
                </c:pt>
                <c:pt idx="20">
                  <c:v>173.80720195778301</c:v>
                </c:pt>
                <c:pt idx="21">
                  <c:v>182.25284997241201</c:v>
                </c:pt>
                <c:pt idx="22">
                  <c:v>190.70096312370899</c:v>
                </c:pt>
                <c:pt idx="23">
                  <c:v>199.187378497163</c:v>
                </c:pt>
                <c:pt idx="24">
                  <c:v>207.68391945171601</c:v>
                </c:pt>
                <c:pt idx="25">
                  <c:v>216.20590687623201</c:v>
                </c:pt>
                <c:pt idx="26">
                  <c:v>224.75976864680601</c:v>
                </c:pt>
                <c:pt idx="27">
                  <c:v>233.34796990010901</c:v>
                </c:pt>
                <c:pt idx="28">
                  <c:v>241.96804549947001</c:v>
                </c:pt>
                <c:pt idx="29">
                  <c:v>250.623693149894</c:v>
                </c:pt>
                <c:pt idx="30">
                  <c:v>259.32776860357302</c:v>
                </c:pt>
                <c:pt idx="31">
                  <c:v>268.06618353997999</c:v>
                </c:pt>
                <c:pt idx="32">
                  <c:v>276.861919292408</c:v>
                </c:pt>
                <c:pt idx="33">
                  <c:v>285.68679921980203</c:v>
                </c:pt>
                <c:pt idx="34">
                  <c:v>294.57666040764798</c:v>
                </c:pt>
                <c:pt idx="35">
                  <c:v>303.50332621489002</c:v>
                </c:pt>
                <c:pt idx="36">
                  <c:v>312.49620585091998</c:v>
                </c:pt>
                <c:pt idx="37">
                  <c:v>321.53478311911101</c:v>
                </c:pt>
                <c:pt idx="38">
                  <c:v>330.63314633999198</c:v>
                </c:pt>
                <c:pt idx="39">
                  <c:v>339.79252808189699</c:v>
                </c:pt>
                <c:pt idx="40">
                  <c:v>348.998840024299</c:v>
                </c:pt>
                <c:pt idx="41">
                  <c:v>358.26617048772403</c:v>
                </c:pt>
                <c:pt idx="42">
                  <c:v>367.596984608843</c:v>
                </c:pt>
                <c:pt idx="43">
                  <c:v>376.975961498792</c:v>
                </c:pt>
                <c:pt idx="44">
                  <c:v>386.41199417033801</c:v>
                </c:pt>
                <c:pt idx="45">
                  <c:v>395.91151049957602</c:v>
                </c:pt>
                <c:pt idx="46">
                  <c:v>405.46165473431398</c:v>
                </c:pt>
                <c:pt idx="47">
                  <c:v>415.06365944288501</c:v>
                </c:pt>
                <c:pt idx="48">
                  <c:v>424.72395250138601</c:v>
                </c:pt>
                <c:pt idx="49">
                  <c:v>434.42967815762398</c:v>
                </c:pt>
                <c:pt idx="50">
                  <c:v>444.18206897993298</c:v>
                </c:pt>
                <c:pt idx="51">
                  <c:v>453.98755284441</c:v>
                </c:pt>
                <c:pt idx="52">
                  <c:v>463.82561355442903</c:v>
                </c:pt>
                <c:pt idx="53">
                  <c:v>473.70514412275799</c:v>
                </c:pt>
                <c:pt idx="54">
                  <c:v>483.61848410496299</c:v>
                </c:pt>
                <c:pt idx="55">
                  <c:v>493.55277774885201</c:v>
                </c:pt>
                <c:pt idx="56">
                  <c:v>503.52211337495299</c:v>
                </c:pt>
                <c:pt idx="57">
                  <c:v>503.52211337495299</c:v>
                </c:pt>
                <c:pt idx="58">
                  <c:v>513.50597478663997</c:v>
                </c:pt>
                <c:pt idx="59">
                  <c:v>523.49793410781695</c:v>
                </c:pt>
                <c:pt idx="60">
                  <c:v>533.49033089405202</c:v>
                </c:pt>
                <c:pt idx="61">
                  <c:v>543.48959302144306</c:v>
                </c:pt>
                <c:pt idx="62">
                  <c:v>553.48286473779604</c:v>
                </c:pt>
                <c:pt idx="63">
                  <c:v>563.46371816701401</c:v>
                </c:pt>
                <c:pt idx="64">
                  <c:v>573.42202772799601</c:v>
                </c:pt>
                <c:pt idx="65">
                  <c:v>583.36025855741298</c:v>
                </c:pt>
                <c:pt idx="66">
                  <c:v>593.25666189030301</c:v>
                </c:pt>
                <c:pt idx="67">
                  <c:v>603.12409347886205</c:v>
                </c:pt>
                <c:pt idx="68">
                  <c:v>612.94326969479903</c:v>
                </c:pt>
                <c:pt idx="69">
                  <c:v>622.71172540144403</c:v>
                </c:pt>
                <c:pt idx="70">
                  <c:v>632.42426529103602</c:v>
                </c:pt>
                <c:pt idx="71">
                  <c:v>642.07199635080804</c:v>
                </c:pt>
                <c:pt idx="72">
                  <c:v>651.65615114909599</c:v>
                </c:pt>
                <c:pt idx="73">
                  <c:v>661.16906924146804</c:v>
                </c:pt>
                <c:pt idx="74">
                  <c:v>670.59542973906105</c:v>
                </c:pt>
                <c:pt idx="75">
                  <c:v>679.93646521021105</c:v>
                </c:pt>
                <c:pt idx="76">
                  <c:v>689.19094308658202</c:v>
                </c:pt>
                <c:pt idx="77">
                  <c:v>698.338347171549</c:v>
                </c:pt>
                <c:pt idx="78">
                  <c:v>707.38510534120996</c:v>
                </c:pt>
                <c:pt idx="79">
                  <c:v>716.32998502723103</c:v>
                </c:pt>
                <c:pt idx="80">
                  <c:v>725.14604215688905</c:v>
                </c:pt>
                <c:pt idx="81">
                  <c:v>733.85256035847397</c:v>
                </c:pt>
                <c:pt idx="82">
                  <c:v>742.43025600369799</c:v>
                </c:pt>
                <c:pt idx="83">
                  <c:v>742.43025600369799</c:v>
                </c:pt>
                <c:pt idx="84">
                  <c:v>750.87666395588997</c:v>
                </c:pt>
                <c:pt idx="85">
                  <c:v>759.19178421505103</c:v>
                </c:pt>
                <c:pt idx="86">
                  <c:v>767.36795633675001</c:v>
                </c:pt>
                <c:pt idx="87">
                  <c:v>775.41160819708296</c:v>
                </c:pt>
                <c:pt idx="88">
                  <c:v>783.32150722771598</c:v>
                </c:pt>
                <c:pt idx="89">
                  <c:v>791.09765342864898</c:v>
                </c:pt>
                <c:pt idx="90">
                  <c:v>798.73238635545204</c:v>
                </c:pt>
                <c:pt idx="91">
                  <c:v>806.238561760317</c:v>
                </c:pt>
                <c:pt idx="92">
                  <c:v>813.60851919881304</c:v>
                </c:pt>
                <c:pt idx="93">
                  <c:v>820.84868654703803</c:v>
                </c:pt>
                <c:pt idx="94">
                  <c:v>827.95140336055999</c:v>
                </c:pt>
                <c:pt idx="95">
                  <c:v>834.92433008380999</c:v>
                </c:pt>
                <c:pt idx="96">
                  <c:v>841.77908990064896</c:v>
                </c:pt>
                <c:pt idx="97">
                  <c:v>848.509254934978</c:v>
                </c:pt>
                <c:pt idx="98">
                  <c:v>855.11482518679804</c:v>
                </c:pt>
                <c:pt idx="99">
                  <c:v>861.60099596387101</c:v>
                </c:pt>
                <c:pt idx="100">
                  <c:v>867.98185558672606</c:v>
                </c:pt>
                <c:pt idx="101">
                  <c:v>874.24331573483505</c:v>
                </c:pt>
                <c:pt idx="102">
                  <c:v>880.39823216038997</c:v>
                </c:pt>
                <c:pt idx="103">
                  <c:v>886.44660486339296</c:v>
                </c:pt>
                <c:pt idx="104">
                  <c:v>892.39486171993997</c:v>
                </c:pt>
                <c:pt idx="105">
                  <c:v>898.25066317446203</c:v>
                </c:pt>
                <c:pt idx="106">
                  <c:v>904.01277665862494</c:v>
                </c:pt>
                <c:pt idx="107">
                  <c:v>909.68763004852599</c:v>
                </c:pt>
                <c:pt idx="108">
                  <c:v>915.28165122026098</c:v>
                </c:pt>
                <c:pt idx="109">
                  <c:v>920.79607274216505</c:v>
                </c:pt>
                <c:pt idx="110">
                  <c:v>926.24251779809799</c:v>
                </c:pt>
                <c:pt idx="111">
                  <c:v>931.61579108029696</c:v>
                </c:pt>
                <c:pt idx="112">
                  <c:v>936.921087896524</c:v>
                </c:pt>
                <c:pt idx="113">
                  <c:v>942.17249656730701</c:v>
                </c:pt>
                <c:pt idx="114">
                  <c:v>947.37767753707794</c:v>
                </c:pt>
                <c:pt idx="115">
                  <c:v>952.52130991697402</c:v>
                </c:pt>
                <c:pt idx="116">
                  <c:v>957.63157034805204</c:v>
                </c:pt>
                <c:pt idx="117">
                  <c:v>962.69437050978297</c:v>
                </c:pt>
                <c:pt idx="118">
                  <c:v>967.73788704322305</c:v>
                </c:pt>
                <c:pt idx="119">
                  <c:v>972.75322693560702</c:v>
                </c:pt>
                <c:pt idx="120">
                  <c:v>977.73519487917304</c:v>
                </c:pt>
                <c:pt idx="121">
                  <c:v>982.71073494664097</c:v>
                </c:pt>
                <c:pt idx="122">
                  <c:v>987.67218669358203</c:v>
                </c:pt>
                <c:pt idx="123">
                  <c:v>992.62721056442604</c:v>
                </c:pt>
                <c:pt idx="124">
                  <c:v>992.62523838300694</c:v>
                </c:pt>
                <c:pt idx="125">
                  <c:v>997.58610019912203</c:v>
                </c:pt>
                <c:pt idx="126">
                  <c:v>1002.54053406254</c:v>
                </c:pt>
                <c:pt idx="127">
                  <c:v>1007.49496800255</c:v>
                </c:pt>
                <c:pt idx="128">
                  <c:v>1012.44940194257</c:v>
                </c:pt>
                <c:pt idx="129">
                  <c:v>1017.40383580599</c:v>
                </c:pt>
                <c:pt idx="130">
                  <c:v>1022.358269746</c:v>
                </c:pt>
                <c:pt idx="131">
                  <c:v>1027.31913156212</c:v>
                </c:pt>
                <c:pt idx="132">
                  <c:v>1032.27356542553</c:v>
                </c:pt>
                <c:pt idx="133">
                  <c:v>1037.22799936555</c:v>
                </c:pt>
                <c:pt idx="134">
                  <c:v>1042.1824333055699</c:v>
                </c:pt>
                <c:pt idx="135">
                  <c:v>1047.1368672455901</c:v>
                </c:pt>
                <c:pt idx="136">
                  <c:v>1052.0913011089999</c:v>
                </c:pt>
                <c:pt idx="137">
                  <c:v>1057.0457350490201</c:v>
                </c:pt>
                <c:pt idx="138">
                  <c:v>1062.0065968651299</c:v>
                </c:pt>
                <c:pt idx="139">
                  <c:v>1066.96103072855</c:v>
                </c:pt>
              </c:numCache>
            </c:numRef>
          </c:xVal>
          <c:yVal>
            <c:numRef>
              <c:f>Tabelle1!$F$2:$F$653</c:f>
              <c:numCache>
                <c:formatCode>General</c:formatCode>
                <c:ptCount val="652"/>
                <c:pt idx="124">
                  <c:v>125.955099813652</c:v>
                </c:pt>
                <c:pt idx="125">
                  <c:v>134.63446635496501</c:v>
                </c:pt>
                <c:pt idx="126">
                  <c:v>143.321493276431</c:v>
                </c:pt>
                <c:pt idx="127">
                  <c:v>152.00852026217501</c:v>
                </c:pt>
                <c:pt idx="128">
                  <c:v>160.695547247919</c:v>
                </c:pt>
                <c:pt idx="129">
                  <c:v>169.38257416938501</c:v>
                </c:pt>
                <c:pt idx="130">
                  <c:v>178.06960115512899</c:v>
                </c:pt>
                <c:pt idx="131">
                  <c:v>186.748967696443</c:v>
                </c:pt>
                <c:pt idx="132">
                  <c:v>195.43599461790799</c:v>
                </c:pt>
                <c:pt idx="133">
                  <c:v>204.123021603653</c:v>
                </c:pt>
                <c:pt idx="134">
                  <c:v>212.81004858939701</c:v>
                </c:pt>
                <c:pt idx="135">
                  <c:v>221.497075575141</c:v>
                </c:pt>
                <c:pt idx="136">
                  <c:v>230.18410249660701</c:v>
                </c:pt>
                <c:pt idx="137">
                  <c:v>238.87112948235099</c:v>
                </c:pt>
                <c:pt idx="138">
                  <c:v>247.55049602366401</c:v>
                </c:pt>
                <c:pt idx="139">
                  <c:v>256.2375229451300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4-F13C-491B-A5E6-DF14310D30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59204336"/>
        <c:axId val="659204992"/>
      </c:scatterChart>
      <c:valAx>
        <c:axId val="659204336"/>
        <c:scaling>
          <c:orientation val="minMax"/>
          <c:max val="1100"/>
          <c:min val="0"/>
        </c:scaling>
        <c:delete val="1"/>
        <c:axPos val="b"/>
        <c:numFmt formatCode="0.00" sourceLinked="1"/>
        <c:majorTickMark val="out"/>
        <c:minorTickMark val="none"/>
        <c:tickLblPos val="nextTo"/>
        <c:crossAx val="659204992"/>
        <c:crosses val="autoZero"/>
        <c:crossBetween val="midCat"/>
      </c:valAx>
      <c:valAx>
        <c:axId val="659204992"/>
        <c:scaling>
          <c:orientation val="minMax"/>
          <c:max val="260"/>
          <c:min val="-250"/>
        </c:scaling>
        <c:delete val="1"/>
        <c:axPos val="l"/>
        <c:numFmt formatCode="General" sourceLinked="1"/>
        <c:majorTickMark val="out"/>
        <c:minorTickMark val="none"/>
        <c:tickLblPos val="nextTo"/>
        <c:crossAx val="65920433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32172" y="313153"/>
            <a:ext cx="2631282" cy="216081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64351" y="571237"/>
            <a:ext cx="2166937" cy="257616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16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2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49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65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8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98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14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30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2244331" y="40370"/>
            <a:ext cx="696516" cy="860121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54781" y="40370"/>
            <a:ext cx="2037954" cy="860121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4533" y="647774"/>
            <a:ext cx="2631282" cy="200213"/>
          </a:xfrm>
        </p:spPr>
        <p:txBody>
          <a:bodyPr anchor="t"/>
          <a:lstStyle>
            <a:lvl1pPr algn="l">
              <a:defRPr sz="4518" b="1" cap="all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44533" y="427263"/>
            <a:ext cx="2631282" cy="220514"/>
          </a:xfrm>
        </p:spPr>
        <p:txBody>
          <a:bodyPr anchor="b"/>
          <a:lstStyle>
            <a:lvl1pPr marL="0" indent="0">
              <a:buNone/>
              <a:defRPr sz="2259">
                <a:solidFill>
                  <a:schemeClr val="tx1">
                    <a:tint val="75000"/>
                  </a:schemeClr>
                </a:solidFill>
              </a:defRPr>
            </a:lvl1pPr>
            <a:lvl2pPr marL="516355" indent="0">
              <a:buNone/>
              <a:defRPr sz="2033">
                <a:solidFill>
                  <a:schemeClr val="tx1">
                    <a:tint val="75000"/>
                  </a:schemeClr>
                </a:solidFill>
              </a:defRPr>
            </a:lvl2pPr>
            <a:lvl3pPr marL="1032710" indent="0">
              <a:buNone/>
              <a:defRPr sz="1807">
                <a:solidFill>
                  <a:schemeClr val="tx1">
                    <a:tint val="75000"/>
                  </a:schemeClr>
                </a:solidFill>
              </a:defRPr>
            </a:lvl3pPr>
            <a:lvl4pPr marL="1549065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4pPr>
            <a:lvl5pPr marL="2065420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5pPr>
            <a:lvl6pPr marL="2581774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6pPr>
            <a:lvl7pPr marL="3098130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7pPr>
            <a:lvl8pPr marL="3614485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8pPr>
            <a:lvl9pPr marL="4130839" indent="0">
              <a:buNone/>
              <a:defRPr sz="158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54790" y="235218"/>
            <a:ext cx="1367235" cy="665275"/>
          </a:xfrm>
        </p:spPr>
        <p:txBody>
          <a:bodyPr/>
          <a:lstStyle>
            <a:lvl1pPr>
              <a:defRPr sz="3162"/>
            </a:lvl1pPr>
            <a:lvl2pPr>
              <a:defRPr sz="2711"/>
            </a:lvl2pPr>
            <a:lvl3pPr>
              <a:defRPr sz="2259"/>
            </a:lvl3pPr>
            <a:lvl4pPr>
              <a:defRPr sz="2033"/>
            </a:lvl4pPr>
            <a:lvl5pPr>
              <a:defRPr sz="2033"/>
            </a:lvl5pPr>
            <a:lvl6pPr>
              <a:defRPr sz="2033"/>
            </a:lvl6pPr>
            <a:lvl7pPr>
              <a:defRPr sz="2033"/>
            </a:lvl7pPr>
            <a:lvl8pPr>
              <a:defRPr sz="2033"/>
            </a:lvl8pPr>
            <a:lvl9pPr>
              <a:defRPr sz="2033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573617" y="235218"/>
            <a:ext cx="1367235" cy="665275"/>
          </a:xfrm>
        </p:spPr>
        <p:txBody>
          <a:bodyPr/>
          <a:lstStyle>
            <a:lvl1pPr>
              <a:defRPr sz="3162"/>
            </a:lvl1pPr>
            <a:lvl2pPr>
              <a:defRPr sz="2711"/>
            </a:lvl2pPr>
            <a:lvl3pPr>
              <a:defRPr sz="2259"/>
            </a:lvl3pPr>
            <a:lvl4pPr>
              <a:defRPr sz="2033"/>
            </a:lvl4pPr>
            <a:lvl5pPr>
              <a:defRPr sz="2033"/>
            </a:lvl5pPr>
            <a:lvl6pPr>
              <a:defRPr sz="2033"/>
            </a:lvl6pPr>
            <a:lvl7pPr>
              <a:defRPr sz="2033"/>
            </a:lvl7pPr>
            <a:lvl8pPr>
              <a:defRPr sz="2033"/>
            </a:lvl8pPr>
            <a:lvl9pPr>
              <a:defRPr sz="2033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54781" y="225648"/>
            <a:ext cx="1367772" cy="94040"/>
          </a:xfrm>
        </p:spPr>
        <p:txBody>
          <a:bodyPr anchor="b"/>
          <a:lstStyle>
            <a:lvl1pPr marL="0" indent="0">
              <a:buNone/>
              <a:defRPr sz="2711" b="1"/>
            </a:lvl1pPr>
            <a:lvl2pPr marL="516355" indent="0">
              <a:buNone/>
              <a:defRPr sz="2259" b="1"/>
            </a:lvl2pPr>
            <a:lvl3pPr marL="1032710" indent="0">
              <a:buNone/>
              <a:defRPr sz="2033" b="1"/>
            </a:lvl3pPr>
            <a:lvl4pPr marL="1549065" indent="0">
              <a:buNone/>
              <a:defRPr sz="1807" b="1"/>
            </a:lvl4pPr>
            <a:lvl5pPr marL="2065420" indent="0">
              <a:buNone/>
              <a:defRPr sz="1807" b="1"/>
            </a:lvl5pPr>
            <a:lvl6pPr marL="2581774" indent="0">
              <a:buNone/>
              <a:defRPr sz="1807" b="1"/>
            </a:lvl6pPr>
            <a:lvl7pPr marL="3098130" indent="0">
              <a:buNone/>
              <a:defRPr sz="1807" b="1"/>
            </a:lvl7pPr>
            <a:lvl8pPr marL="3614485" indent="0">
              <a:buNone/>
              <a:defRPr sz="1807" b="1"/>
            </a:lvl8pPr>
            <a:lvl9pPr marL="4130839" indent="0">
              <a:buNone/>
              <a:defRPr sz="1807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54781" y="319688"/>
            <a:ext cx="1367772" cy="580803"/>
          </a:xfrm>
        </p:spPr>
        <p:txBody>
          <a:bodyPr/>
          <a:lstStyle>
            <a:lvl1pPr>
              <a:defRPr sz="2711"/>
            </a:lvl1pPr>
            <a:lvl2pPr>
              <a:defRPr sz="2259"/>
            </a:lvl2pPr>
            <a:lvl3pPr>
              <a:defRPr sz="2033"/>
            </a:lvl3pPr>
            <a:lvl4pPr>
              <a:defRPr sz="1807"/>
            </a:lvl4pPr>
            <a:lvl5pPr>
              <a:defRPr sz="1807"/>
            </a:lvl5pPr>
            <a:lvl6pPr>
              <a:defRPr sz="1807"/>
            </a:lvl6pPr>
            <a:lvl7pPr>
              <a:defRPr sz="1807"/>
            </a:lvl7pPr>
            <a:lvl8pPr>
              <a:defRPr sz="1807"/>
            </a:lvl8pPr>
            <a:lvl9pPr>
              <a:defRPr sz="1807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1572544" y="225648"/>
            <a:ext cx="1368309" cy="94040"/>
          </a:xfrm>
        </p:spPr>
        <p:txBody>
          <a:bodyPr anchor="b"/>
          <a:lstStyle>
            <a:lvl1pPr marL="0" indent="0">
              <a:buNone/>
              <a:defRPr sz="2711" b="1"/>
            </a:lvl1pPr>
            <a:lvl2pPr marL="516355" indent="0">
              <a:buNone/>
              <a:defRPr sz="2259" b="1"/>
            </a:lvl2pPr>
            <a:lvl3pPr marL="1032710" indent="0">
              <a:buNone/>
              <a:defRPr sz="2033" b="1"/>
            </a:lvl3pPr>
            <a:lvl4pPr marL="1549065" indent="0">
              <a:buNone/>
              <a:defRPr sz="1807" b="1"/>
            </a:lvl4pPr>
            <a:lvl5pPr marL="2065420" indent="0">
              <a:buNone/>
              <a:defRPr sz="1807" b="1"/>
            </a:lvl5pPr>
            <a:lvl6pPr marL="2581774" indent="0">
              <a:buNone/>
              <a:defRPr sz="1807" b="1"/>
            </a:lvl6pPr>
            <a:lvl7pPr marL="3098130" indent="0">
              <a:buNone/>
              <a:defRPr sz="1807" b="1"/>
            </a:lvl7pPr>
            <a:lvl8pPr marL="3614485" indent="0">
              <a:buNone/>
              <a:defRPr sz="1807" b="1"/>
            </a:lvl8pPr>
            <a:lvl9pPr marL="4130839" indent="0">
              <a:buNone/>
              <a:defRPr sz="1807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1572544" y="319688"/>
            <a:ext cx="1368309" cy="580803"/>
          </a:xfrm>
        </p:spPr>
        <p:txBody>
          <a:bodyPr/>
          <a:lstStyle>
            <a:lvl1pPr>
              <a:defRPr sz="2711"/>
            </a:lvl1pPr>
            <a:lvl2pPr>
              <a:defRPr sz="2259"/>
            </a:lvl2pPr>
            <a:lvl3pPr>
              <a:defRPr sz="2033"/>
            </a:lvl3pPr>
            <a:lvl4pPr>
              <a:defRPr sz="1807"/>
            </a:lvl4pPr>
            <a:lvl5pPr>
              <a:defRPr sz="1807"/>
            </a:lvl5pPr>
            <a:lvl6pPr>
              <a:defRPr sz="1807"/>
            </a:lvl6pPr>
            <a:lvl7pPr>
              <a:defRPr sz="1807"/>
            </a:lvl7pPr>
            <a:lvl8pPr>
              <a:defRPr sz="1807"/>
            </a:lvl8pPr>
            <a:lvl9pPr>
              <a:defRPr sz="1807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4790" y="40140"/>
            <a:ext cx="1018439" cy="170810"/>
          </a:xfrm>
        </p:spPr>
        <p:txBody>
          <a:bodyPr anchor="b"/>
          <a:lstStyle>
            <a:lvl1pPr algn="l">
              <a:defRPr sz="2259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210304" y="40138"/>
            <a:ext cx="1730540" cy="860354"/>
          </a:xfrm>
        </p:spPr>
        <p:txBody>
          <a:bodyPr/>
          <a:lstStyle>
            <a:lvl1pPr>
              <a:defRPr sz="3614"/>
            </a:lvl1pPr>
            <a:lvl2pPr>
              <a:defRPr sz="3162"/>
            </a:lvl2pPr>
            <a:lvl3pPr>
              <a:defRPr sz="2711"/>
            </a:lvl3pPr>
            <a:lvl4pPr>
              <a:defRPr sz="2259"/>
            </a:lvl4pPr>
            <a:lvl5pPr>
              <a:defRPr sz="2259"/>
            </a:lvl5pPr>
            <a:lvl6pPr>
              <a:defRPr sz="2259"/>
            </a:lvl6pPr>
            <a:lvl7pPr>
              <a:defRPr sz="2259"/>
            </a:lvl7pPr>
            <a:lvl8pPr>
              <a:defRPr sz="2259"/>
            </a:lvl8pPr>
            <a:lvl9pPr>
              <a:defRPr sz="2259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54790" y="210949"/>
            <a:ext cx="1018439" cy="689542"/>
          </a:xfrm>
        </p:spPr>
        <p:txBody>
          <a:bodyPr/>
          <a:lstStyle>
            <a:lvl1pPr marL="0" indent="0">
              <a:buNone/>
              <a:defRPr sz="1581"/>
            </a:lvl1pPr>
            <a:lvl2pPr marL="516355" indent="0">
              <a:buNone/>
              <a:defRPr sz="1355"/>
            </a:lvl2pPr>
            <a:lvl3pPr marL="1032710" indent="0">
              <a:buNone/>
              <a:defRPr sz="1129"/>
            </a:lvl3pPr>
            <a:lvl4pPr marL="1549065" indent="0">
              <a:buNone/>
              <a:defRPr sz="1016"/>
            </a:lvl4pPr>
            <a:lvl5pPr marL="2065420" indent="0">
              <a:buNone/>
              <a:defRPr sz="1016"/>
            </a:lvl5pPr>
            <a:lvl6pPr marL="2581774" indent="0">
              <a:buNone/>
              <a:defRPr sz="1016"/>
            </a:lvl6pPr>
            <a:lvl7pPr marL="3098130" indent="0">
              <a:buNone/>
              <a:defRPr sz="1016"/>
            </a:lvl7pPr>
            <a:lvl8pPr marL="3614485" indent="0">
              <a:buNone/>
              <a:defRPr sz="1016"/>
            </a:lvl8pPr>
            <a:lvl9pPr marL="4130839" indent="0">
              <a:buNone/>
              <a:defRPr sz="1016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6771" y="705646"/>
            <a:ext cx="1857375" cy="83304"/>
          </a:xfrm>
        </p:spPr>
        <p:txBody>
          <a:bodyPr anchor="b"/>
          <a:lstStyle>
            <a:lvl1pPr algn="l">
              <a:defRPr sz="2259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606771" y="90075"/>
            <a:ext cx="1857375" cy="604838"/>
          </a:xfrm>
        </p:spPr>
        <p:txBody>
          <a:bodyPr/>
          <a:lstStyle>
            <a:lvl1pPr marL="0" indent="0">
              <a:buNone/>
              <a:defRPr sz="3614"/>
            </a:lvl1pPr>
            <a:lvl2pPr marL="516355" indent="0">
              <a:buNone/>
              <a:defRPr sz="3162"/>
            </a:lvl2pPr>
            <a:lvl3pPr marL="1032710" indent="0">
              <a:buNone/>
              <a:defRPr sz="2711"/>
            </a:lvl3pPr>
            <a:lvl4pPr marL="1549065" indent="0">
              <a:buNone/>
              <a:defRPr sz="2259"/>
            </a:lvl4pPr>
            <a:lvl5pPr marL="2065420" indent="0">
              <a:buNone/>
              <a:defRPr sz="2259"/>
            </a:lvl5pPr>
            <a:lvl6pPr marL="2581774" indent="0">
              <a:buNone/>
              <a:defRPr sz="2259"/>
            </a:lvl6pPr>
            <a:lvl7pPr marL="3098130" indent="0">
              <a:buNone/>
              <a:defRPr sz="2259"/>
            </a:lvl7pPr>
            <a:lvl8pPr marL="3614485" indent="0">
              <a:buNone/>
              <a:defRPr sz="2259"/>
            </a:lvl8pPr>
            <a:lvl9pPr marL="4130839" indent="0">
              <a:buNone/>
              <a:defRPr sz="2259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6771" y="788951"/>
            <a:ext cx="1857375" cy="118308"/>
          </a:xfrm>
        </p:spPr>
        <p:txBody>
          <a:bodyPr/>
          <a:lstStyle>
            <a:lvl1pPr marL="0" indent="0">
              <a:buNone/>
              <a:defRPr sz="1581"/>
            </a:lvl1pPr>
            <a:lvl2pPr marL="516355" indent="0">
              <a:buNone/>
              <a:defRPr sz="1355"/>
            </a:lvl2pPr>
            <a:lvl3pPr marL="1032710" indent="0">
              <a:buNone/>
              <a:defRPr sz="1129"/>
            </a:lvl3pPr>
            <a:lvl4pPr marL="1549065" indent="0">
              <a:buNone/>
              <a:defRPr sz="1016"/>
            </a:lvl4pPr>
            <a:lvl5pPr marL="2065420" indent="0">
              <a:buNone/>
              <a:defRPr sz="1016"/>
            </a:lvl5pPr>
            <a:lvl6pPr marL="2581774" indent="0">
              <a:buNone/>
              <a:defRPr sz="1016"/>
            </a:lvl6pPr>
            <a:lvl7pPr marL="3098130" indent="0">
              <a:buNone/>
              <a:defRPr sz="1016"/>
            </a:lvl7pPr>
            <a:lvl8pPr marL="3614485" indent="0">
              <a:buNone/>
              <a:defRPr sz="1016"/>
            </a:lvl8pPr>
            <a:lvl9pPr marL="4130839" indent="0">
              <a:buNone/>
              <a:defRPr sz="1016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84563894"/>
              </p:ext>
            </p:extLst>
          </p:nvPr>
        </p:nvGraphicFramePr>
        <p:xfrm>
          <a:off x="537" y="236"/>
          <a:ext cx="538" cy="2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Folie" r:id="rId16" imgW="384" imgH="384" progId="TCLayout.ActiveDocument.1">
                  <p:embed/>
                </p:oleObj>
              </mc:Choice>
              <mc:Fallback>
                <p:oleObj name="think-cell Folie" r:id="rId16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537" y="236"/>
                        <a:ext cx="538" cy="2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5"/>
            </p:custDataLst>
          </p:nvPr>
        </p:nvSpPr>
        <p:spPr>
          <a:xfrm>
            <a:off x="3" y="3"/>
            <a:ext cx="53744" cy="233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4969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54788" y="40372"/>
            <a:ext cx="2786063" cy="1680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54788" y="235218"/>
            <a:ext cx="2786063" cy="6652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54784" y="934327"/>
            <a:ext cx="722312" cy="536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EF7ADF-C373-4E12-BA8C-AAEE52A088DE}" type="datetimeFigureOut">
              <a:rPr lang="de-DE" smtClean="0"/>
              <a:pPr/>
              <a:t>02.03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057679" y="934327"/>
            <a:ext cx="980281" cy="536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218535" y="934327"/>
            <a:ext cx="722312" cy="536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824C58-1651-4636-AB26-C3AF293A51A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032710" rtl="0" eaLnBrk="1" latinLnBrk="0" hangingPunct="1">
        <a:spcBef>
          <a:spcPct val="0"/>
        </a:spcBef>
        <a:buNone/>
        <a:defRPr sz="4969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7266" indent="-387266" algn="l" defTabSz="1032710" rtl="0" eaLnBrk="1" latinLnBrk="0" hangingPunct="1">
        <a:spcBef>
          <a:spcPct val="20000"/>
        </a:spcBef>
        <a:buFont typeface="Arial" pitchFamily="34" charset="0"/>
        <a:buChar char="•"/>
        <a:defRPr sz="3614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839077" indent="-322722" algn="l" defTabSz="1032710" rtl="0" eaLnBrk="1" latinLnBrk="0" hangingPunct="1">
        <a:spcBef>
          <a:spcPct val="20000"/>
        </a:spcBef>
        <a:buFont typeface="Arial" pitchFamily="34" charset="0"/>
        <a:buChar char="–"/>
        <a:defRPr sz="3162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290888" indent="-258178" algn="l" defTabSz="1032710" rtl="0" eaLnBrk="1" latinLnBrk="0" hangingPunct="1">
        <a:spcBef>
          <a:spcPct val="20000"/>
        </a:spcBef>
        <a:buFont typeface="Arial" pitchFamily="34" charset="0"/>
        <a:buChar char="•"/>
        <a:defRPr sz="271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807243" indent="-258178" algn="l" defTabSz="1032710" rtl="0" eaLnBrk="1" latinLnBrk="0" hangingPunct="1">
        <a:spcBef>
          <a:spcPct val="20000"/>
        </a:spcBef>
        <a:buFont typeface="Arial" pitchFamily="34" charset="0"/>
        <a:buChar char="–"/>
        <a:defRPr sz="225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323598" indent="-258178" algn="l" defTabSz="1032710" rtl="0" eaLnBrk="1" latinLnBrk="0" hangingPunct="1">
        <a:spcBef>
          <a:spcPct val="20000"/>
        </a:spcBef>
        <a:buFont typeface="Arial" pitchFamily="34" charset="0"/>
        <a:buChar char="»"/>
        <a:defRPr sz="225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839952" indent="-258178" algn="l" defTabSz="1032710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6pPr>
      <a:lvl7pPr marL="3356307" indent="-258178" algn="l" defTabSz="1032710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7pPr>
      <a:lvl8pPr marL="3872663" indent="-258178" algn="l" defTabSz="1032710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8pPr>
      <a:lvl9pPr marL="4389017" indent="-258178" algn="l" defTabSz="1032710" rtl="0" eaLnBrk="1" latinLnBrk="0" hangingPunct="1">
        <a:spcBef>
          <a:spcPct val="20000"/>
        </a:spcBef>
        <a:buFont typeface="Arial" pitchFamily="34" charset="0"/>
        <a:buChar char="•"/>
        <a:defRPr sz="225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32710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1pPr>
      <a:lvl2pPr marL="516355" algn="l" defTabSz="1032710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2pPr>
      <a:lvl3pPr marL="1032710" algn="l" defTabSz="1032710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3pPr>
      <a:lvl4pPr marL="1549065" algn="l" defTabSz="1032710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4pPr>
      <a:lvl5pPr marL="2065420" algn="l" defTabSz="1032710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5pPr>
      <a:lvl6pPr marL="2581774" algn="l" defTabSz="1032710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6pPr>
      <a:lvl7pPr marL="3098130" algn="l" defTabSz="1032710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7pPr>
      <a:lvl8pPr marL="3614485" algn="l" defTabSz="1032710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8pPr>
      <a:lvl9pPr marL="4130839" algn="l" defTabSz="1032710" rtl="0" eaLnBrk="1" latinLnBrk="0" hangingPunct="1">
        <a:defRPr sz="20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chart" Target="../charts/chart1.xml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426835"/>
              </p:ext>
            </p:extLst>
          </p:nvPr>
        </p:nvGraphicFramePr>
        <p:xfrm>
          <a:off x="-3739290" y="-3159256"/>
          <a:ext cx="1794" cy="1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" name="think-cell Folie" r:id="rId4" imgW="384" imgH="384" progId="TCLayout.ActiveDocument.1">
                  <p:embed/>
                </p:oleObj>
              </mc:Choice>
              <mc:Fallback>
                <p:oleObj name="think-cell Foli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3739290" y="-3159256"/>
                        <a:ext cx="1794" cy="1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</p:cNvCxnSpPr>
          <p:nvPr/>
        </p:nvCxnSpPr>
        <p:spPr>
          <a:xfrm flipV="1">
            <a:off x="50679" y="143991"/>
            <a:ext cx="0" cy="628142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26433530-B7EC-4A0C-814D-374CF5E0A871}"/>
              </a:ext>
            </a:extLst>
          </p:cNvPr>
          <p:cNvCxnSpPr>
            <a:cxnSpLocks/>
          </p:cNvCxnSpPr>
          <p:nvPr/>
        </p:nvCxnSpPr>
        <p:spPr>
          <a:xfrm>
            <a:off x="50683" y="772133"/>
            <a:ext cx="1140891" cy="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-75471" y="-72033"/>
                <a:ext cx="471155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17"/>
                <a14:m>
                  <m:oMath xmlns:m="http://schemas.openxmlformats.org/officeDocument/2006/math">
                    <m:r>
                      <a:rPr lang="de-DE" sz="800" i="1" kern="0" dirty="0">
                        <a:solidFill>
                          <a:srgbClr val="171717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𝜅</m:t>
                    </m:r>
                  </m:oMath>
                </a14:m>
                <a:r>
                  <a:rPr lang="de-DE" sz="800" kern="0" dirty="0">
                    <a:solidFill>
                      <a:srgbClr val="171717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[1/m]</a:t>
                </a:r>
              </a:p>
            </p:txBody>
          </p:sp>
        </mc:Choice>
        <mc:Fallback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75471" y="-72033"/>
                <a:ext cx="471155" cy="215444"/>
              </a:xfrm>
              <a:prstGeom prst="rect">
                <a:avLst/>
              </a:prstGeom>
              <a:blipFill>
                <a:blip r:embed="rId6"/>
                <a:stretch>
                  <a:fillRect b="-5556"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1115717" y="664412"/>
                <a:ext cx="419346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17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𝑠</m:t>
                      </m:r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[</m:t>
                      </m:r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𝑚</m:t>
                      </m:r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]</m:t>
                      </m:r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15717" y="664412"/>
                <a:ext cx="419346" cy="215444"/>
              </a:xfrm>
              <a:prstGeom prst="rect">
                <a:avLst/>
              </a:prstGeom>
              <a:blipFill>
                <a:blip r:embed="rId7"/>
                <a:stretch>
                  <a:fillRect b="-2857"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" name="Gerader Verbinder 5"/>
          <p:cNvCxnSpPr/>
          <p:nvPr/>
        </p:nvCxnSpPr>
        <p:spPr>
          <a:xfrm>
            <a:off x="50683" y="772133"/>
            <a:ext cx="272997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>
            <a:off x="899741" y="772133"/>
            <a:ext cx="216024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 flipV="1">
            <a:off x="323681" y="346525"/>
            <a:ext cx="175289" cy="422271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flipH="1" flipV="1">
            <a:off x="724410" y="346525"/>
            <a:ext cx="175289" cy="422271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>
            <a:off x="498965" y="346520"/>
            <a:ext cx="2254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</p:cNvCxnSpPr>
          <p:nvPr/>
        </p:nvCxnSpPr>
        <p:spPr>
          <a:xfrm flipV="1">
            <a:off x="1686161" y="143995"/>
            <a:ext cx="0" cy="628291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26433530-B7EC-4A0C-814D-374CF5E0A871}"/>
              </a:ext>
            </a:extLst>
          </p:cNvPr>
          <p:cNvCxnSpPr>
            <a:cxnSpLocks/>
          </p:cNvCxnSpPr>
          <p:nvPr/>
        </p:nvCxnSpPr>
        <p:spPr>
          <a:xfrm>
            <a:off x="1686166" y="772281"/>
            <a:ext cx="1140891" cy="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1560011" y="-71885"/>
                <a:ext cx="391582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17"/>
                <a14:m>
                  <m:oMath xmlns:m="http://schemas.openxmlformats.org/officeDocument/2006/math">
                    <m:r>
                      <a:rPr lang="de-DE" sz="800" i="1" kern="0">
                        <a:solidFill>
                          <a:srgbClr val="171717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𝑦</m:t>
                    </m:r>
                  </m:oMath>
                </a14:m>
                <a:r>
                  <a:rPr lang="de-DE" sz="800" kern="0" dirty="0">
                    <a:solidFill>
                      <a:srgbClr val="171717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[m]</a:t>
                </a:r>
              </a:p>
            </p:txBody>
          </p:sp>
        </mc:Choice>
        <mc:Fallback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60011" y="-71885"/>
                <a:ext cx="391582" cy="215444"/>
              </a:xfrm>
              <a:prstGeom prst="rect">
                <a:avLst/>
              </a:prstGeom>
              <a:blipFill>
                <a:blip r:embed="rId8"/>
                <a:stretch>
                  <a:fillRect b="-5556"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2751199" y="664559"/>
                <a:ext cx="426720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17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𝑥</m:t>
                      </m:r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[</m:t>
                      </m:r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𝑚</m:t>
                      </m:r>
                      <m:r>
                        <a:rPr lang="de-DE" sz="800" i="1" kern="0">
                          <a:solidFill>
                            <a:srgbClr val="171717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]</m:t>
                      </m:r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51199" y="664559"/>
                <a:ext cx="426720" cy="215444"/>
              </a:xfrm>
              <a:prstGeom prst="rect">
                <a:avLst/>
              </a:prstGeom>
              <a:blipFill>
                <a:blip r:embed="rId9"/>
                <a:stretch>
                  <a:fillRect b="-2857"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27" name="Diagramm 2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46199401"/>
              </p:ext>
            </p:extLst>
          </p:nvPr>
        </p:nvGraphicFramePr>
        <p:xfrm>
          <a:off x="1715105" y="231933"/>
          <a:ext cx="1111951" cy="486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11" name="Gruppieren 10"/>
          <p:cNvGrpSpPr/>
          <p:nvPr/>
        </p:nvGrpSpPr>
        <p:grpSpPr>
          <a:xfrm>
            <a:off x="433053" y="842400"/>
            <a:ext cx="2204020" cy="215444"/>
            <a:chOff x="433053" y="825991"/>
            <a:chExt cx="2204020" cy="215444"/>
          </a:xfrm>
        </p:grpSpPr>
        <p:cxnSp>
          <p:nvCxnSpPr>
            <p:cNvPr id="17" name="Gerader Verbinder 16"/>
            <p:cNvCxnSpPr/>
            <p:nvPr/>
          </p:nvCxnSpPr>
          <p:spPr>
            <a:xfrm>
              <a:off x="1220750" y="943200"/>
              <a:ext cx="28800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ash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5" name="Textfeld 4"/>
            <p:cNvSpPr txBox="1"/>
            <p:nvPr/>
          </p:nvSpPr>
          <p:spPr>
            <a:xfrm>
              <a:off x="1467540" y="825991"/>
              <a:ext cx="412292" cy="21544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de-DE" sz="8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piral</a:t>
              </a:r>
              <a:endParaRPr lang="de-DE" sz="8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22" name="Gerader Verbinder 21"/>
            <p:cNvCxnSpPr/>
            <p:nvPr/>
          </p:nvCxnSpPr>
          <p:spPr>
            <a:xfrm>
              <a:off x="433053" y="943200"/>
              <a:ext cx="28080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4" name="Textfeld 23"/>
            <p:cNvSpPr txBox="1"/>
            <p:nvPr/>
          </p:nvSpPr>
          <p:spPr>
            <a:xfrm>
              <a:off x="679843" y="825991"/>
              <a:ext cx="338554" cy="21544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de-DE" sz="800" dirty="0" err="1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ine</a:t>
              </a:r>
              <a:endParaRPr lang="de-DE" sz="8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25" name="Gerader Verbinder 24"/>
            <p:cNvCxnSpPr/>
            <p:nvPr/>
          </p:nvCxnSpPr>
          <p:spPr>
            <a:xfrm>
              <a:off x="2082185" y="943200"/>
              <a:ext cx="28800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8" name="Textfeld 27"/>
            <p:cNvSpPr txBox="1"/>
            <p:nvPr/>
          </p:nvSpPr>
          <p:spPr>
            <a:xfrm>
              <a:off x="2328975" y="825991"/>
              <a:ext cx="308098" cy="21544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de-DE" sz="800" dirty="0" err="1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rc</a:t>
              </a:r>
              <a:endParaRPr lang="de-DE" sz="8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MANKy4CRjkggxgH1yQ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9</Words>
  <Application>Microsoft Office PowerPoint</Application>
  <PresentationFormat>Benutzerdefiniert</PresentationFormat>
  <Paragraphs>7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mbria Math</vt:lpstr>
      <vt:lpstr>Times New Roman</vt:lpstr>
      <vt:lpstr>blank</vt:lpstr>
      <vt:lpstr>think-cell Folie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iel Becker</dc:creator>
  <cp:lastModifiedBy>Daniel Becker</cp:lastModifiedBy>
  <cp:revision>30</cp:revision>
  <cp:lastPrinted>2020-02-06T09:58:55Z</cp:lastPrinted>
  <dcterms:created xsi:type="dcterms:W3CDTF">2020-02-06T09:29:41Z</dcterms:created>
  <dcterms:modified xsi:type="dcterms:W3CDTF">2020-03-02T06:22:44Z</dcterms:modified>
</cp:coreProperties>
</file>